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 id="2147483760" r:id="rId4"/>
  </p:sldMasterIdLst>
  <p:notesMasterIdLst>
    <p:notesMasterId r:id="rId296"/>
  </p:notesMasterIdLst>
  <p:sldIdLst>
    <p:sldId id="257" r:id="rId5"/>
    <p:sldId id="957" r:id="rId6"/>
    <p:sldId id="958" r:id="rId7"/>
    <p:sldId id="959" r:id="rId8"/>
    <p:sldId id="370" r:id="rId9"/>
    <p:sldId id="371" r:id="rId10"/>
    <p:sldId id="261" r:id="rId11"/>
    <p:sldId id="962" r:id="rId12"/>
    <p:sldId id="601" r:id="rId13"/>
    <p:sldId id="602" r:id="rId14"/>
    <p:sldId id="937" r:id="rId15"/>
    <p:sldId id="938" r:id="rId16"/>
    <p:sldId id="947" r:id="rId17"/>
    <p:sldId id="327" r:id="rId18"/>
    <p:sldId id="594" r:id="rId19"/>
    <p:sldId id="332" r:id="rId20"/>
    <p:sldId id="324" r:id="rId21"/>
    <p:sldId id="963" r:id="rId22"/>
    <p:sldId id="945" r:id="rId23"/>
    <p:sldId id="941" r:id="rId24"/>
    <p:sldId id="942" r:id="rId25"/>
    <p:sldId id="943" r:id="rId26"/>
    <p:sldId id="944" r:id="rId27"/>
    <p:sldId id="946" r:id="rId28"/>
    <p:sldId id="1005" r:id="rId29"/>
    <p:sldId id="609" r:id="rId30"/>
    <p:sldId id="966" r:id="rId31"/>
    <p:sldId id="967" r:id="rId32"/>
    <p:sldId id="971" r:id="rId33"/>
    <p:sldId id="972" r:id="rId34"/>
    <p:sldId id="973" r:id="rId35"/>
    <p:sldId id="974" r:id="rId36"/>
    <p:sldId id="975" r:id="rId37"/>
    <p:sldId id="980" r:id="rId38"/>
    <p:sldId id="968" r:id="rId39"/>
    <p:sldId id="976" r:id="rId40"/>
    <p:sldId id="977" r:id="rId41"/>
    <p:sldId id="1007" r:id="rId42"/>
    <p:sldId id="1003" r:id="rId43"/>
    <p:sldId id="611" r:id="rId44"/>
    <p:sldId id="948" r:id="rId45"/>
    <p:sldId id="612" r:id="rId46"/>
    <p:sldId id="613" r:id="rId47"/>
    <p:sldId id="614" r:id="rId48"/>
    <p:sldId id="616" r:id="rId49"/>
    <p:sldId id="949" r:id="rId50"/>
    <p:sldId id="950" r:id="rId51"/>
    <p:sldId id="951" r:id="rId52"/>
    <p:sldId id="952" r:id="rId53"/>
    <p:sldId id="955" r:id="rId54"/>
    <p:sldId id="953" r:id="rId55"/>
    <p:sldId id="1012" r:id="rId56"/>
    <p:sldId id="1016" r:id="rId57"/>
    <p:sldId id="1013" r:id="rId58"/>
    <p:sldId id="1014" r:id="rId59"/>
    <p:sldId id="1015" r:id="rId60"/>
    <p:sldId id="1018" r:id="rId61"/>
    <p:sldId id="1043" r:id="rId62"/>
    <p:sldId id="1019" r:id="rId63"/>
    <p:sldId id="1071" r:id="rId64"/>
    <p:sldId id="1036" r:id="rId65"/>
    <p:sldId id="1037" r:id="rId66"/>
    <p:sldId id="1038" r:id="rId67"/>
    <p:sldId id="1040" r:id="rId68"/>
    <p:sldId id="1020" r:id="rId69"/>
    <p:sldId id="1021" r:id="rId70"/>
    <p:sldId id="1022" r:id="rId71"/>
    <p:sldId id="1023" r:id="rId72"/>
    <p:sldId id="1024" r:id="rId73"/>
    <p:sldId id="1025" r:id="rId74"/>
    <p:sldId id="1026" r:id="rId75"/>
    <p:sldId id="1027" r:id="rId76"/>
    <p:sldId id="1030" r:id="rId77"/>
    <p:sldId id="1031" r:id="rId78"/>
    <p:sldId id="1044" r:id="rId79"/>
    <p:sldId id="1042" r:id="rId80"/>
    <p:sldId id="1039" r:id="rId81"/>
    <p:sldId id="1032" r:id="rId82"/>
    <p:sldId id="1033" r:id="rId83"/>
    <p:sldId id="1034" r:id="rId84"/>
    <p:sldId id="1045" r:id="rId85"/>
    <p:sldId id="1035" r:id="rId86"/>
    <p:sldId id="1046" r:id="rId87"/>
    <p:sldId id="1047" r:id="rId88"/>
    <p:sldId id="1028" r:id="rId89"/>
    <p:sldId id="1048" r:id="rId90"/>
    <p:sldId id="1049" r:id="rId91"/>
    <p:sldId id="1050" r:id="rId92"/>
    <p:sldId id="1051" r:id="rId93"/>
    <p:sldId id="1052" r:id="rId94"/>
    <p:sldId id="1029" r:id="rId95"/>
    <p:sldId id="1053" r:id="rId96"/>
    <p:sldId id="1054" r:id="rId97"/>
    <p:sldId id="1055" r:id="rId98"/>
    <p:sldId id="1056" r:id="rId99"/>
    <p:sldId id="1057" r:id="rId100"/>
    <p:sldId id="1072" r:id="rId101"/>
    <p:sldId id="1060" r:id="rId102"/>
    <p:sldId id="1062" r:id="rId103"/>
    <p:sldId id="1064" r:id="rId104"/>
    <p:sldId id="1061" r:id="rId105"/>
    <p:sldId id="1065" r:id="rId106"/>
    <p:sldId id="1066" r:id="rId107"/>
    <p:sldId id="1070" r:id="rId108"/>
    <p:sldId id="1067" r:id="rId109"/>
    <p:sldId id="1068" r:id="rId110"/>
    <p:sldId id="1069" r:id="rId111"/>
    <p:sldId id="1058" r:id="rId112"/>
    <p:sldId id="1073" r:id="rId113"/>
    <p:sldId id="1059" r:id="rId114"/>
    <p:sldId id="1074" r:id="rId115"/>
    <p:sldId id="1075" r:id="rId116"/>
    <p:sldId id="1078" r:id="rId117"/>
    <p:sldId id="1079" r:id="rId118"/>
    <p:sldId id="1080" r:id="rId119"/>
    <p:sldId id="1008" r:id="rId120"/>
    <p:sldId id="1081" r:id="rId121"/>
    <p:sldId id="1076" r:id="rId122"/>
    <p:sldId id="1077" r:id="rId123"/>
    <p:sldId id="1082" r:id="rId124"/>
    <p:sldId id="1083" r:id="rId125"/>
    <p:sldId id="1084" r:id="rId126"/>
    <p:sldId id="1085" r:id="rId127"/>
    <p:sldId id="1088" r:id="rId128"/>
    <p:sldId id="1089" r:id="rId129"/>
    <p:sldId id="1090" r:id="rId130"/>
    <p:sldId id="1091" r:id="rId131"/>
    <p:sldId id="1087" r:id="rId132"/>
    <p:sldId id="1086" r:id="rId133"/>
    <p:sldId id="1092" r:id="rId134"/>
    <p:sldId id="1098" r:id="rId135"/>
    <p:sldId id="1093" r:id="rId136"/>
    <p:sldId id="1094" r:id="rId137"/>
    <p:sldId id="1095" r:id="rId138"/>
    <p:sldId id="1096" r:id="rId139"/>
    <p:sldId id="1103" r:id="rId140"/>
    <p:sldId id="1118" r:id="rId141"/>
    <p:sldId id="1097" r:id="rId142"/>
    <p:sldId id="1099" r:id="rId143"/>
    <p:sldId id="1100" r:id="rId144"/>
    <p:sldId id="1104" r:id="rId145"/>
    <p:sldId id="1107" r:id="rId146"/>
    <p:sldId id="1106" r:id="rId147"/>
    <p:sldId id="1108" r:id="rId148"/>
    <p:sldId id="1109" r:id="rId149"/>
    <p:sldId id="1110" r:id="rId150"/>
    <p:sldId id="1111" r:id="rId151"/>
    <p:sldId id="1009" r:id="rId152"/>
    <p:sldId id="1101" r:id="rId153"/>
    <p:sldId id="1102" r:id="rId154"/>
    <p:sldId id="1119" r:id="rId155"/>
    <p:sldId id="665" r:id="rId156"/>
    <p:sldId id="1122" r:id="rId157"/>
    <p:sldId id="1120" r:id="rId158"/>
    <p:sldId id="1121" r:id="rId159"/>
    <p:sldId id="834" r:id="rId160"/>
    <p:sldId id="838" r:id="rId161"/>
    <p:sldId id="839" r:id="rId162"/>
    <p:sldId id="841" r:id="rId163"/>
    <p:sldId id="842" r:id="rId164"/>
    <p:sldId id="843" r:id="rId165"/>
    <p:sldId id="835" r:id="rId166"/>
    <p:sldId id="844" r:id="rId167"/>
    <p:sldId id="836" r:id="rId168"/>
    <p:sldId id="846" r:id="rId169"/>
    <p:sldId id="847" r:id="rId170"/>
    <p:sldId id="868" r:id="rId171"/>
    <p:sldId id="869" r:id="rId172"/>
    <p:sldId id="872" r:id="rId173"/>
    <p:sldId id="870" r:id="rId174"/>
    <p:sldId id="1010" r:id="rId175"/>
    <p:sldId id="1112" r:id="rId176"/>
    <p:sldId id="1113" r:id="rId177"/>
    <p:sldId id="1114" r:id="rId178"/>
    <p:sldId id="1115" r:id="rId179"/>
    <p:sldId id="1116" r:id="rId180"/>
    <p:sldId id="1117" r:id="rId181"/>
    <p:sldId id="1105" r:id="rId182"/>
    <p:sldId id="1011" r:id="rId183"/>
    <p:sldId id="680" r:id="rId184"/>
    <p:sldId id="610" r:id="rId185"/>
    <p:sldId id="674" r:id="rId186"/>
    <p:sldId id="681" r:id="rId187"/>
    <p:sldId id="692" r:id="rId188"/>
    <p:sldId id="693" r:id="rId189"/>
    <p:sldId id="676" r:id="rId190"/>
    <p:sldId id="694" r:id="rId191"/>
    <p:sldId id="685" r:id="rId192"/>
    <p:sldId id="697" r:id="rId193"/>
    <p:sldId id="698" r:id="rId194"/>
    <p:sldId id="689" r:id="rId195"/>
    <p:sldId id="699" r:id="rId196"/>
    <p:sldId id="700" r:id="rId197"/>
    <p:sldId id="690" r:id="rId198"/>
    <p:sldId id="682" r:id="rId199"/>
    <p:sldId id="677" r:id="rId200"/>
    <p:sldId id="710" r:id="rId201"/>
    <p:sldId id="713" r:id="rId202"/>
    <p:sldId id="712" r:id="rId203"/>
    <p:sldId id="714" r:id="rId204"/>
    <p:sldId id="723" r:id="rId205"/>
    <p:sldId id="725" r:id="rId206"/>
    <p:sldId id="726" r:id="rId207"/>
    <p:sldId id="728" r:id="rId208"/>
    <p:sldId id="730" r:id="rId209"/>
    <p:sldId id="731" r:id="rId210"/>
    <p:sldId id="732" r:id="rId211"/>
    <p:sldId id="733" r:id="rId212"/>
    <p:sldId id="734" r:id="rId213"/>
    <p:sldId id="735" r:id="rId214"/>
    <p:sldId id="736" r:id="rId215"/>
    <p:sldId id="737" r:id="rId216"/>
    <p:sldId id="707" r:id="rId217"/>
    <p:sldId id="738" r:id="rId218"/>
    <p:sldId id="739" r:id="rId219"/>
    <p:sldId id="740" r:id="rId220"/>
    <p:sldId id="741" r:id="rId221"/>
    <p:sldId id="743" r:id="rId222"/>
    <p:sldId id="742" r:id="rId223"/>
    <p:sldId id="744" r:id="rId224"/>
    <p:sldId id="745" r:id="rId225"/>
    <p:sldId id="746" r:id="rId226"/>
    <p:sldId id="747" r:id="rId227"/>
    <p:sldId id="748" r:id="rId228"/>
    <p:sldId id="749" r:id="rId229"/>
    <p:sldId id="750" r:id="rId230"/>
    <p:sldId id="751" r:id="rId231"/>
    <p:sldId id="752" r:id="rId232"/>
    <p:sldId id="755" r:id="rId233"/>
    <p:sldId id="756" r:id="rId234"/>
    <p:sldId id="757" r:id="rId235"/>
    <p:sldId id="758" r:id="rId236"/>
    <p:sldId id="759" r:id="rId237"/>
    <p:sldId id="760" r:id="rId238"/>
    <p:sldId id="761" r:id="rId239"/>
    <p:sldId id="762" r:id="rId240"/>
    <p:sldId id="817" r:id="rId241"/>
    <p:sldId id="765" r:id="rId242"/>
    <p:sldId id="766" r:id="rId243"/>
    <p:sldId id="767" r:id="rId244"/>
    <p:sldId id="769" r:id="rId245"/>
    <p:sldId id="784" r:id="rId246"/>
    <p:sldId id="785" r:id="rId247"/>
    <p:sldId id="786" r:id="rId248"/>
    <p:sldId id="770" r:id="rId249"/>
    <p:sldId id="768" r:id="rId250"/>
    <p:sldId id="798" r:id="rId251"/>
    <p:sldId id="803" r:id="rId252"/>
    <p:sldId id="804" r:id="rId253"/>
    <p:sldId id="805" r:id="rId254"/>
    <p:sldId id="806" r:id="rId255"/>
    <p:sldId id="807" r:id="rId256"/>
    <p:sldId id="763" r:id="rId257"/>
    <p:sldId id="810" r:id="rId258"/>
    <p:sldId id="827" r:id="rId259"/>
    <p:sldId id="831" r:id="rId260"/>
    <p:sldId id="832" r:id="rId261"/>
    <p:sldId id="833" r:id="rId262"/>
    <p:sldId id="830" r:id="rId263"/>
    <p:sldId id="837" r:id="rId264"/>
    <p:sldId id="850" r:id="rId265"/>
    <p:sldId id="877" r:id="rId266"/>
    <p:sldId id="878" r:id="rId267"/>
    <p:sldId id="879" r:id="rId268"/>
    <p:sldId id="881" r:id="rId269"/>
    <p:sldId id="885" r:id="rId270"/>
    <p:sldId id="882" r:id="rId271"/>
    <p:sldId id="883" r:id="rId272"/>
    <p:sldId id="884" r:id="rId273"/>
    <p:sldId id="849" r:id="rId274"/>
    <p:sldId id="880" r:id="rId275"/>
    <p:sldId id="873" r:id="rId276"/>
    <p:sldId id="886" r:id="rId277"/>
    <p:sldId id="891" r:id="rId278"/>
    <p:sldId id="887" r:id="rId279"/>
    <p:sldId id="888" r:id="rId280"/>
    <p:sldId id="889" r:id="rId281"/>
    <p:sldId id="890" r:id="rId282"/>
    <p:sldId id="892" r:id="rId283"/>
    <p:sldId id="933" r:id="rId284"/>
    <p:sldId id="935" r:id="rId285"/>
    <p:sldId id="932" r:id="rId286"/>
    <p:sldId id="934" r:id="rId287"/>
    <p:sldId id="931" r:id="rId288"/>
    <p:sldId id="936" r:id="rId289"/>
    <p:sldId id="823" r:id="rId290"/>
    <p:sldId id="821" r:id="rId291"/>
    <p:sldId id="825" r:id="rId292"/>
    <p:sldId id="824" r:id="rId293"/>
    <p:sldId id="822" r:id="rId294"/>
    <p:sldId id="296" r:id="rId29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957"/>
            <p14:sldId id="958"/>
            <p14:sldId id="959"/>
            <p14:sldId id="370"/>
            <p14:sldId id="371"/>
            <p14:sldId id="261"/>
            <p14:sldId id="962"/>
          </p14:sldIdLst>
        </p14:section>
        <p14:section name="Intro" id="{71A0EFC3-1B77-42BC-B22F-19AAC7036864}">
          <p14:sldIdLst>
            <p14:sldId id="601"/>
            <p14:sldId id="602"/>
            <p14:sldId id="937"/>
            <p14:sldId id="938"/>
            <p14:sldId id="947"/>
            <p14:sldId id="327"/>
            <p14:sldId id="594"/>
            <p14:sldId id="332"/>
            <p14:sldId id="324"/>
            <p14:sldId id="963"/>
            <p14:sldId id="945"/>
            <p14:sldId id="941"/>
            <p14:sldId id="942"/>
            <p14:sldId id="943"/>
            <p14:sldId id="944"/>
            <p14:sldId id="946"/>
          </p14:sldIdLst>
        </p14:section>
        <p14:section name="DEMO 1" id="{C94FA127-4FC8-4142-82F0-0B43FA6C8CE7}">
          <p14:sldIdLst>
            <p14:sldId id="1005"/>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7"/>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3CFF1FDD-1FE4-4B4E-BDE0-EF0CF34E584E}">
          <p14:sldIdLst>
            <p14:sldId id="1008"/>
            <p14:sldId id="1081"/>
            <p14:sldId id="1076"/>
            <p14:sldId id="1077"/>
            <p14:sldId id="1082"/>
            <p14:sldId id="1083"/>
            <p14:sldId id="1084"/>
            <p14:sldId id="1085"/>
            <p14:sldId id="1088"/>
            <p14:sldId id="1089"/>
            <p14:sldId id="1090"/>
            <p14:sldId id="1091"/>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5B15D6A0-FEAD-49FE-B7FF-0F9158923D9F}">
          <p14:sldIdLst>
            <p14:sldId id="1009"/>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374993CF-7838-4273-8F76-EAA2A8A3643A}">
          <p14:sldIdLst>
            <p14:sldId id="1010"/>
            <p14:sldId id="1112"/>
            <p14:sldId id="1113"/>
            <p14:sldId id="1114"/>
            <p14:sldId id="1115"/>
            <p14:sldId id="1116"/>
            <p14:sldId id="1117"/>
            <p14:sldId id="1105"/>
            <p14:sldId id="1011"/>
          </p14:sldIdLst>
        </p14:section>
        <p14:section name="Pre-Lab Pointers" id="{8149B10F-DB49-446F-9D9A-01A52F0F0044}">
          <p14:sldIdLst>
            <p14:sldId id="680"/>
            <p14:sldId id="610"/>
            <p14:sldId id="674"/>
            <p14:sldId id="681"/>
            <p14:sldId id="692"/>
            <p14:sldId id="693"/>
            <p14:sldId id="676"/>
            <p14:sldId id="694"/>
            <p14:sldId id="685"/>
            <p14:sldId id="697"/>
            <p14:sldId id="698"/>
            <p14:sldId id="689"/>
            <p14:sldId id="699"/>
            <p14:sldId id="700"/>
            <p14:sldId id="690"/>
            <p14:sldId id="682"/>
            <p14:sldId id="677"/>
            <p14:sldId id="710"/>
            <p14:sldId id="713"/>
            <p14:sldId id="712"/>
            <p14:sldId id="714"/>
            <p14:sldId id="723"/>
            <p14:sldId id="725"/>
            <p14:sldId id="726"/>
            <p14:sldId id="728"/>
            <p14:sldId id="730"/>
            <p14:sldId id="731"/>
            <p14:sldId id="732"/>
            <p14:sldId id="733"/>
            <p14:sldId id="734"/>
            <p14:sldId id="735"/>
            <p14:sldId id="736"/>
            <p14:sldId id="737"/>
            <p14:sldId id="707"/>
            <p14:sldId id="738"/>
            <p14:sldId id="739"/>
            <p14:sldId id="740"/>
            <p14:sldId id="741"/>
            <p14:sldId id="743"/>
            <p14:sldId id="742"/>
            <p14:sldId id="744"/>
            <p14:sldId id="745"/>
            <p14:sldId id="746"/>
            <p14:sldId id="747"/>
            <p14:sldId id="748"/>
            <p14:sldId id="749"/>
            <p14:sldId id="750"/>
            <p14:sldId id="751"/>
            <p14:sldId id="752"/>
            <p14:sldId id="755"/>
            <p14:sldId id="756"/>
            <p14:sldId id="757"/>
            <p14:sldId id="758"/>
            <p14:sldId id="759"/>
            <p14:sldId id="760"/>
            <p14:sldId id="761"/>
            <p14:sldId id="762"/>
          </p14:sldIdLst>
        </p14:section>
        <p14:section name="DEMO +" id="{3DA1B30E-A8EB-44DD-921F-F73C14FBBA55}">
          <p14:sldIdLst>
            <p14:sldId id="817"/>
            <p14:sldId id="765"/>
            <p14:sldId id="766"/>
            <p14:sldId id="767"/>
            <p14:sldId id="769"/>
            <p14:sldId id="784"/>
            <p14:sldId id="785"/>
            <p14:sldId id="786"/>
            <p14:sldId id="770"/>
            <p14:sldId id="768"/>
            <p14:sldId id="798"/>
            <p14:sldId id="803"/>
            <p14:sldId id="804"/>
            <p14:sldId id="805"/>
            <p14:sldId id="806"/>
            <p14:sldId id="807"/>
          </p14:sldIdLst>
        </p14:section>
        <p14:section name="Quiz" id="{C147E044-4FA5-4E51-8922-FF67A00F879A}">
          <p14:sldIdLst>
            <p14:sldId id="763"/>
          </p14:sldIdLst>
        </p14:section>
        <p14:section name="Lunch" id="{F632480A-CA5F-47E6-A674-F3F12AC184FF}">
          <p14:sldIdLst>
            <p14:sldId id="810"/>
          </p14:sldIdLst>
        </p14:section>
        <p14:section name="Power BI Service" id="{342DA9E4-43A8-45BD-92A5-E55F2BDA6DC5}">
          <p14:sldIdLst>
            <p14:sldId id="827"/>
            <p14:sldId id="831"/>
            <p14:sldId id="832"/>
            <p14:sldId id="833"/>
            <p14:sldId id="830"/>
            <p14:sldId id="837"/>
            <p14:sldId id="850"/>
            <p14:sldId id="877"/>
            <p14:sldId id="878"/>
            <p14:sldId id="879"/>
            <p14:sldId id="881"/>
            <p14:sldId id="885"/>
            <p14:sldId id="882"/>
            <p14:sldId id="883"/>
            <p14:sldId id="884"/>
            <p14:sldId id="849"/>
            <p14:sldId id="880"/>
            <p14:sldId id="873"/>
            <p14:sldId id="886"/>
            <p14:sldId id="891"/>
            <p14:sldId id="887"/>
            <p14:sldId id="888"/>
            <p14:sldId id="889"/>
            <p14:sldId id="890"/>
            <p14:sldId id="892"/>
            <p14:sldId id="933"/>
            <p14:sldId id="935"/>
            <p14:sldId id="932"/>
            <p14:sldId id="934"/>
            <p14:sldId id="931"/>
          </p14:sldIdLst>
        </p14:section>
        <p14:section name="END" id="{EBDEB4E2-9392-4324-974B-2EC2F17A42B0}">
          <p14:sldIdLst>
            <p14:sldId id="936"/>
            <p14:sldId id="823"/>
            <p14:sldId id="821"/>
            <p14:sldId id="825"/>
            <p14:sldId id="824"/>
            <p14:sldId id="822"/>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2"/>
    <a:srgbClr val="0075D6"/>
    <a:srgbClr val="575352"/>
    <a:srgbClr val="FFFFFF"/>
    <a:srgbClr val="742774"/>
    <a:srgbClr val="262626"/>
    <a:srgbClr val="8E98A7"/>
    <a:srgbClr val="768092"/>
    <a:srgbClr val="404040"/>
    <a:srgbClr val="FAFAF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63DC05-B761-4AF0-89BB-24376A01088A}" v="519" dt="2019-04-24T13:27:53.37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929" autoAdjust="0"/>
    <p:restoredTop sz="87540" autoAdjust="0"/>
  </p:normalViewPr>
  <p:slideViewPr>
    <p:cSldViewPr snapToGrid="0">
      <p:cViewPr varScale="1">
        <p:scale>
          <a:sx n="108" d="100"/>
          <a:sy n="108" d="100"/>
        </p:scale>
        <p:origin x="486" y="108"/>
      </p:cViewPr>
      <p:guideLst/>
    </p:cSldViewPr>
  </p:slideViewPr>
  <p:notesTextViewPr>
    <p:cViewPr>
      <p:scale>
        <a:sx n="3" d="2"/>
        <a:sy n="3" d="2"/>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99" Type="http://schemas.openxmlformats.org/officeDocument/2006/relationships/theme" Target="theme/theme1.xml"/><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170" Type="http://schemas.openxmlformats.org/officeDocument/2006/relationships/slide" Target="slides/slide166.xml"/><Relationship Id="rId226" Type="http://schemas.openxmlformats.org/officeDocument/2006/relationships/slide" Target="slides/slide222.xml"/><Relationship Id="rId268" Type="http://schemas.openxmlformats.org/officeDocument/2006/relationships/slide" Target="slides/slide264.xml"/><Relationship Id="rId32" Type="http://schemas.openxmlformats.org/officeDocument/2006/relationships/slide" Target="slides/slide28.xml"/><Relationship Id="rId74" Type="http://schemas.openxmlformats.org/officeDocument/2006/relationships/slide" Target="slides/slide70.xml"/><Relationship Id="rId128" Type="http://schemas.openxmlformats.org/officeDocument/2006/relationships/slide" Target="slides/slide124.xml"/><Relationship Id="rId5" Type="http://schemas.openxmlformats.org/officeDocument/2006/relationships/slide" Target="slides/slide1.xml"/><Relationship Id="rId181" Type="http://schemas.openxmlformats.org/officeDocument/2006/relationships/slide" Target="slides/slide177.xml"/><Relationship Id="rId237" Type="http://schemas.openxmlformats.org/officeDocument/2006/relationships/slide" Target="slides/slide233.xml"/><Relationship Id="rId279" Type="http://schemas.openxmlformats.org/officeDocument/2006/relationships/slide" Target="slides/slide275.xml"/><Relationship Id="rId43" Type="http://schemas.openxmlformats.org/officeDocument/2006/relationships/slide" Target="slides/slide39.xml"/><Relationship Id="rId139" Type="http://schemas.openxmlformats.org/officeDocument/2006/relationships/slide" Target="slides/slide135.xml"/><Relationship Id="rId290" Type="http://schemas.openxmlformats.org/officeDocument/2006/relationships/slide" Target="slides/slide286.xml"/><Relationship Id="rId85" Type="http://schemas.openxmlformats.org/officeDocument/2006/relationships/slide" Target="slides/slide81.xml"/><Relationship Id="rId150" Type="http://schemas.openxmlformats.org/officeDocument/2006/relationships/slide" Target="slides/slide146.xml"/><Relationship Id="rId192" Type="http://schemas.openxmlformats.org/officeDocument/2006/relationships/slide" Target="slides/slide188.xml"/><Relationship Id="rId206" Type="http://schemas.openxmlformats.org/officeDocument/2006/relationships/slide" Target="slides/slide202.xml"/><Relationship Id="rId248" Type="http://schemas.openxmlformats.org/officeDocument/2006/relationships/slide" Target="slides/slide244.xml"/><Relationship Id="rId12" Type="http://schemas.openxmlformats.org/officeDocument/2006/relationships/slide" Target="slides/slide8.xml"/><Relationship Id="rId108" Type="http://schemas.openxmlformats.org/officeDocument/2006/relationships/slide" Target="slides/slide104.xml"/><Relationship Id="rId54" Type="http://schemas.openxmlformats.org/officeDocument/2006/relationships/slide" Target="slides/slide50.xml"/><Relationship Id="rId96" Type="http://schemas.openxmlformats.org/officeDocument/2006/relationships/slide" Target="slides/slide92.xml"/><Relationship Id="rId161" Type="http://schemas.openxmlformats.org/officeDocument/2006/relationships/slide" Target="slides/slide157.xml"/><Relationship Id="rId217" Type="http://schemas.openxmlformats.org/officeDocument/2006/relationships/slide" Target="slides/slide213.xml"/><Relationship Id="rId6" Type="http://schemas.openxmlformats.org/officeDocument/2006/relationships/slide" Target="slides/slide2.xml"/><Relationship Id="rId238" Type="http://schemas.openxmlformats.org/officeDocument/2006/relationships/slide" Target="slides/slide234.xml"/><Relationship Id="rId259" Type="http://schemas.openxmlformats.org/officeDocument/2006/relationships/slide" Target="slides/slide255.xml"/><Relationship Id="rId23" Type="http://schemas.openxmlformats.org/officeDocument/2006/relationships/slide" Target="slides/slide19.xml"/><Relationship Id="rId119" Type="http://schemas.openxmlformats.org/officeDocument/2006/relationships/slide" Target="slides/slide115.xml"/><Relationship Id="rId270" Type="http://schemas.openxmlformats.org/officeDocument/2006/relationships/slide" Target="slides/slide266.xml"/><Relationship Id="rId291" Type="http://schemas.openxmlformats.org/officeDocument/2006/relationships/slide" Target="slides/slide287.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228" Type="http://schemas.openxmlformats.org/officeDocument/2006/relationships/slide" Target="slides/slide224.xml"/><Relationship Id="rId249" Type="http://schemas.openxmlformats.org/officeDocument/2006/relationships/slide" Target="slides/slide245.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281" Type="http://schemas.openxmlformats.org/officeDocument/2006/relationships/slide" Target="slides/slide277.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39" Type="http://schemas.openxmlformats.org/officeDocument/2006/relationships/slide" Target="slides/slide235.xml"/><Relationship Id="rId250" Type="http://schemas.openxmlformats.org/officeDocument/2006/relationships/slide" Target="slides/slide246.xml"/><Relationship Id="rId271" Type="http://schemas.openxmlformats.org/officeDocument/2006/relationships/slide" Target="slides/slide267.xml"/><Relationship Id="rId292" Type="http://schemas.openxmlformats.org/officeDocument/2006/relationships/slide" Target="slides/slide288.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slide" Target="slides/slide236.xml"/><Relationship Id="rId261" Type="http://schemas.openxmlformats.org/officeDocument/2006/relationships/slide" Target="slides/slide257.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1" Type="http://schemas.openxmlformats.org/officeDocument/2006/relationships/slide" Target="slides/slide247.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72" Type="http://schemas.openxmlformats.org/officeDocument/2006/relationships/slide" Target="slides/slide268.xml"/><Relationship Id="rId293" Type="http://schemas.openxmlformats.org/officeDocument/2006/relationships/slide" Target="slides/slide28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slide" Target="slides/slide23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262" Type="http://schemas.openxmlformats.org/officeDocument/2006/relationships/slide" Target="slides/slide258.xml"/><Relationship Id="rId283" Type="http://schemas.openxmlformats.org/officeDocument/2006/relationships/slide" Target="slides/slide279.xml"/><Relationship Id="rId78" Type="http://schemas.openxmlformats.org/officeDocument/2006/relationships/slide" Target="slides/slide74.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64" Type="http://schemas.openxmlformats.org/officeDocument/2006/relationships/slide" Target="slides/slide160.xml"/><Relationship Id="rId185" Type="http://schemas.openxmlformats.org/officeDocument/2006/relationships/slide" Target="slides/slide181.xml"/><Relationship Id="rId9" Type="http://schemas.openxmlformats.org/officeDocument/2006/relationships/slide" Target="slides/slide5.xml"/><Relationship Id="rId210" Type="http://schemas.openxmlformats.org/officeDocument/2006/relationships/slide" Target="slides/slide206.xml"/><Relationship Id="rId26" Type="http://schemas.openxmlformats.org/officeDocument/2006/relationships/slide" Target="slides/slide22.xml"/><Relationship Id="rId231" Type="http://schemas.openxmlformats.org/officeDocument/2006/relationships/slide" Target="slides/slide227.xml"/><Relationship Id="rId252" Type="http://schemas.openxmlformats.org/officeDocument/2006/relationships/slide" Target="slides/slide248.xml"/><Relationship Id="rId273" Type="http://schemas.openxmlformats.org/officeDocument/2006/relationships/slide" Target="slides/slide269.xml"/><Relationship Id="rId294" Type="http://schemas.openxmlformats.org/officeDocument/2006/relationships/slide" Target="slides/slide290.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263" Type="http://schemas.openxmlformats.org/officeDocument/2006/relationships/slide" Target="slides/slide259.xml"/><Relationship Id="rId284" Type="http://schemas.openxmlformats.org/officeDocument/2006/relationships/slide" Target="slides/slide280.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4" Type="http://schemas.openxmlformats.org/officeDocument/2006/relationships/slide" Target="slides/slide270.xml"/><Relationship Id="rId295" Type="http://schemas.openxmlformats.org/officeDocument/2006/relationships/slide" Target="slides/slide29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264" Type="http://schemas.openxmlformats.org/officeDocument/2006/relationships/slide" Target="slides/slide260.xml"/><Relationship Id="rId285" Type="http://schemas.openxmlformats.org/officeDocument/2006/relationships/slide" Target="slides/slide28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slideMaster" Target="slideMasters/slideMaster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275" Type="http://schemas.openxmlformats.org/officeDocument/2006/relationships/slide" Target="slides/slide271.xml"/><Relationship Id="rId296" Type="http://schemas.openxmlformats.org/officeDocument/2006/relationships/notesMaster" Target="notesMasters/notesMaster1.xml"/><Relationship Id="rId300" Type="http://schemas.openxmlformats.org/officeDocument/2006/relationships/tableStyles" Target="tableStyles.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265" Type="http://schemas.openxmlformats.org/officeDocument/2006/relationships/slide" Target="slides/slide261.xml"/><Relationship Id="rId286" Type="http://schemas.openxmlformats.org/officeDocument/2006/relationships/slide" Target="slides/slide282.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slideMaster" Target="slideMasters/slideMaster2.xml"/><Relationship Id="rId29" Type="http://schemas.openxmlformats.org/officeDocument/2006/relationships/slide" Target="slides/slide25.xml"/><Relationship Id="rId255" Type="http://schemas.openxmlformats.org/officeDocument/2006/relationships/slide" Target="slides/slide251.xml"/><Relationship Id="rId276" Type="http://schemas.openxmlformats.org/officeDocument/2006/relationships/slide" Target="slides/slide272.xml"/><Relationship Id="rId297" Type="http://schemas.openxmlformats.org/officeDocument/2006/relationships/presProps" Target="presProps.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301" Type="http://schemas.microsoft.com/office/2016/11/relationships/changesInfo" Target="changesInfos/changesInfo1.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266" Type="http://schemas.openxmlformats.org/officeDocument/2006/relationships/slide" Target="slides/slide262.xml"/><Relationship Id="rId287" Type="http://schemas.openxmlformats.org/officeDocument/2006/relationships/slide" Target="slides/slide283.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slideMaster" Target="slideMasters/slideMaster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slide" Target="slides/slide252.xml"/><Relationship Id="rId277" Type="http://schemas.openxmlformats.org/officeDocument/2006/relationships/slide" Target="slides/slide273.xml"/><Relationship Id="rId298" Type="http://schemas.openxmlformats.org/officeDocument/2006/relationships/viewProps" Target="viewProps.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302"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267" Type="http://schemas.openxmlformats.org/officeDocument/2006/relationships/slide" Target="slides/slide263.xml"/><Relationship Id="rId288" Type="http://schemas.openxmlformats.org/officeDocument/2006/relationships/slide" Target="slides/slide284.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4" Type="http://schemas.openxmlformats.org/officeDocument/2006/relationships/slideMaster" Target="slideMasters/slideMaster4.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278" Type="http://schemas.openxmlformats.org/officeDocument/2006/relationships/slide" Target="slides/slide274.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107" Type="http://schemas.openxmlformats.org/officeDocument/2006/relationships/slide" Target="slides/slide103.xml"/><Relationship Id="rId289" Type="http://schemas.openxmlformats.org/officeDocument/2006/relationships/slide" Target="slides/slide285.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258" Type="http://schemas.openxmlformats.org/officeDocument/2006/relationships/slide" Target="slides/slide254.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ram Fleitas" userId="461d7124ec7a38ad" providerId="LiveId" clId="{8AD16BFB-0692-4633-B78B-1AAEE5C36FCF}"/>
    <pc:docChg chg="modSld">
      <pc:chgData name="Hiram Fleitas" userId="461d7124ec7a38ad" providerId="LiveId" clId="{8AD16BFB-0692-4633-B78B-1AAEE5C36FCF}" dt="2019-03-21T03:58:20.295" v="1" actId="20577"/>
      <pc:docMkLst>
        <pc:docMk/>
      </pc:docMkLst>
      <pc:sldChg chg="modSp">
        <pc:chgData name="Hiram Fleitas" userId="461d7124ec7a38ad" providerId="LiveId" clId="{8AD16BFB-0692-4633-B78B-1AAEE5C36FCF}" dt="2019-03-21T03:58:20.295" v="1" actId="20577"/>
        <pc:sldMkLst>
          <pc:docMk/>
          <pc:sldMk cId="881483197" sldId="824"/>
        </pc:sldMkLst>
        <pc:spChg chg="mod">
          <ac:chgData name="Hiram Fleitas" userId="461d7124ec7a38ad" providerId="LiveId" clId="{8AD16BFB-0692-4633-B78B-1AAEE5C36FCF}" dt="2019-03-21T03:58:20.295" v="1" actId="20577"/>
          <ac:spMkLst>
            <pc:docMk/>
            <pc:sldMk cId="881483197" sldId="824"/>
            <ac:spMk id="133" creationId="{B470E301-CBB8-47E6-A996-881B7A940AF4}"/>
          </ac:spMkLst>
        </pc:spChg>
      </pc:sldChg>
    </pc:docChg>
  </pc:docChgLst>
  <pc:docChgLst>
    <pc:chgData name="Hiram Fleitas" userId="461d7124ec7a38ad" providerId="LiveId" clId="{C3DF72AE-141A-49D0-83B4-D821F2DB467D}"/>
    <pc:docChg chg="undo redo custSel addSld modSld">
      <pc:chgData name="Hiram Fleitas" userId="461d7124ec7a38ad" providerId="LiveId" clId="{C3DF72AE-141A-49D0-83B4-D821F2DB467D}" dt="2019-03-28T20:58:09.231" v="430" actId="478"/>
      <pc:docMkLst>
        <pc:docMk/>
      </pc:docMkLst>
      <pc:sldChg chg="addSp delSp modSp">
        <pc:chgData name="Hiram Fleitas" userId="461d7124ec7a38ad" providerId="LiveId" clId="{C3DF72AE-141A-49D0-83B4-D821F2DB467D}" dt="2019-03-28T01:50:01.466" v="205"/>
        <pc:sldMkLst>
          <pc:docMk/>
          <pc:sldMk cId="3759792378" sldId="257"/>
        </pc:sldMkLst>
        <pc:grpChg chg="add del">
          <ac:chgData name="Hiram Fleitas" userId="461d7124ec7a38ad" providerId="LiveId" clId="{C3DF72AE-141A-49D0-83B4-D821F2DB467D}" dt="2019-03-28T01:49:55.411" v="203" actId="478"/>
          <ac:grpSpMkLst>
            <pc:docMk/>
            <pc:sldMk cId="3759792378" sldId="257"/>
            <ac:grpSpMk id="12" creationId="{55CC9167-467F-46C8-8B6E-B18F2732E86F}"/>
          </ac:grpSpMkLst>
        </pc:grpChg>
        <pc:picChg chg="add del">
          <ac:chgData name="Hiram Fleitas" userId="461d7124ec7a38ad" providerId="LiveId" clId="{C3DF72AE-141A-49D0-83B4-D821F2DB467D}" dt="2019-03-28T01:49:28.805" v="197"/>
          <ac:picMkLst>
            <pc:docMk/>
            <pc:sldMk cId="3759792378" sldId="257"/>
            <ac:picMk id="8" creationId="{37CDA29B-8A4B-476A-B56E-280893C4D347}"/>
          </ac:picMkLst>
        </pc:picChg>
        <pc:picChg chg="add del mod">
          <ac:chgData name="Hiram Fleitas" userId="461d7124ec7a38ad" providerId="LiveId" clId="{C3DF72AE-141A-49D0-83B4-D821F2DB467D}" dt="2019-03-28T01:50:01.466" v="205"/>
          <ac:picMkLst>
            <pc:docMk/>
            <pc:sldMk cId="3759792378" sldId="257"/>
            <ac:picMk id="10" creationId="{31EB8DEF-485B-46B9-980B-4C5EE6E7B7AD}"/>
          </ac:picMkLst>
        </pc:picChg>
      </pc:sldChg>
      <pc:sldChg chg="addSp delSp">
        <pc:chgData name="Hiram Fleitas" userId="461d7124ec7a38ad" providerId="LiveId" clId="{C3DF72AE-141A-49D0-83B4-D821F2DB467D}" dt="2019-03-28T01:50:43.657" v="211" actId="478"/>
        <pc:sldMkLst>
          <pc:docMk/>
          <pc:sldMk cId="1723390988" sldId="258"/>
        </pc:sldMkLst>
        <pc:grpChg chg="del">
          <ac:chgData name="Hiram Fleitas" userId="461d7124ec7a38ad" providerId="LiveId" clId="{C3DF72AE-141A-49D0-83B4-D821F2DB467D}" dt="2019-03-28T01:50:13.435" v="208" actId="478"/>
          <ac:grpSpMkLst>
            <pc:docMk/>
            <pc:sldMk cId="1723390988" sldId="258"/>
            <ac:grpSpMk id="13" creationId="{ABEECBFC-965F-4EB7-8D08-3CC49ABAF93C}"/>
          </ac:grpSpMkLst>
        </pc:grpChg>
        <pc:picChg chg="add del">
          <ac:chgData name="Hiram Fleitas" userId="461d7124ec7a38ad" providerId="LiveId" clId="{C3DF72AE-141A-49D0-83B4-D821F2DB467D}" dt="2019-03-28T01:50:43.657" v="211" actId="478"/>
          <ac:picMkLst>
            <pc:docMk/>
            <pc:sldMk cId="1723390988" sldId="258"/>
            <ac:picMk id="7" creationId="{7EB97DA7-BC37-4D22-B915-64832752BE05}"/>
          </ac:picMkLst>
        </pc:picChg>
      </pc:sldChg>
      <pc:sldChg chg="addSp delSp">
        <pc:chgData name="Hiram Fleitas" userId="461d7124ec7a38ad" providerId="LiveId" clId="{C3DF72AE-141A-49D0-83B4-D821F2DB467D}" dt="2019-03-28T01:51:16.717" v="217"/>
        <pc:sldMkLst>
          <pc:docMk/>
          <pc:sldMk cId="2111787185" sldId="261"/>
        </pc:sldMkLst>
        <pc:grpChg chg="del">
          <ac:chgData name="Hiram Fleitas" userId="461d7124ec7a38ad" providerId="LiveId" clId="{C3DF72AE-141A-49D0-83B4-D821F2DB467D}" dt="2019-03-28T01:51:15.764" v="216" actId="478"/>
          <ac:grpSpMkLst>
            <pc:docMk/>
            <pc:sldMk cId="2111787185" sldId="261"/>
            <ac:grpSpMk id="90" creationId="{B7A94E6C-ABC2-43FC-B5D3-18C908D29917}"/>
          </ac:grpSpMkLst>
        </pc:grpChg>
        <pc:picChg chg="add">
          <ac:chgData name="Hiram Fleitas" userId="461d7124ec7a38ad" providerId="LiveId" clId="{C3DF72AE-141A-49D0-83B4-D821F2DB467D}" dt="2019-03-28T01:51:16.717" v="217"/>
          <ac:picMkLst>
            <pc:docMk/>
            <pc:sldMk cId="2111787185" sldId="261"/>
            <ac:picMk id="46" creationId="{AE8A0B9C-D01E-4237-8C7C-7F8BAF722E10}"/>
          </ac:picMkLst>
        </pc:picChg>
      </pc:sldChg>
      <pc:sldChg chg="addSp delSp modSp">
        <pc:chgData name="Hiram Fleitas" userId="461d7124ec7a38ad" providerId="LiveId" clId="{C3DF72AE-141A-49D0-83B4-D821F2DB467D}" dt="2019-03-28T01:50:07.716" v="207"/>
        <pc:sldMkLst>
          <pc:docMk/>
          <pc:sldMk cId="3363124758" sldId="307"/>
        </pc:sldMkLst>
        <pc:grpChg chg="add del">
          <ac:chgData name="Hiram Fleitas" userId="461d7124ec7a38ad" providerId="LiveId" clId="{C3DF72AE-141A-49D0-83B4-D821F2DB467D}" dt="2019-03-28T01:47:38.665" v="189" actId="478"/>
          <ac:grpSpMkLst>
            <pc:docMk/>
            <pc:sldMk cId="3363124758" sldId="307"/>
            <ac:grpSpMk id="5" creationId="{EC9D7494-C644-45BF-8458-13E76693B4F1}"/>
          </ac:grpSpMkLst>
        </pc:grpChg>
        <pc:picChg chg="add del mod">
          <ac:chgData name="Hiram Fleitas" userId="461d7124ec7a38ad" providerId="LiveId" clId="{C3DF72AE-141A-49D0-83B4-D821F2DB467D}" dt="2019-03-28T01:50:06.653" v="206" actId="478"/>
          <ac:picMkLst>
            <pc:docMk/>
            <pc:sldMk cId="3363124758" sldId="307"/>
            <ac:picMk id="8" creationId="{9598C26D-A21D-4CA1-9A40-B5D246D81C81}"/>
          </ac:picMkLst>
        </pc:picChg>
        <pc:picChg chg="add">
          <ac:chgData name="Hiram Fleitas" userId="461d7124ec7a38ad" providerId="LiveId" clId="{C3DF72AE-141A-49D0-83B4-D821F2DB467D}" dt="2019-03-28T01:50:07.716" v="207"/>
          <ac:picMkLst>
            <pc:docMk/>
            <pc:sldMk cId="3363124758" sldId="307"/>
            <ac:picMk id="9" creationId="{480FA06C-1C54-4B84-847D-5962A1DFBB21}"/>
          </ac:picMkLst>
        </pc:picChg>
      </pc:sldChg>
      <pc:sldChg chg="addSp delSp">
        <pc:chgData name="Hiram Fleitas" userId="461d7124ec7a38ad" providerId="LiveId" clId="{C3DF72AE-141A-49D0-83B4-D821F2DB467D}" dt="2019-03-28T01:52:15.878" v="235"/>
        <pc:sldMkLst>
          <pc:docMk/>
          <pc:sldMk cId="1969843946" sldId="324"/>
        </pc:sldMkLst>
        <pc:grpChg chg="del">
          <ac:chgData name="Hiram Fleitas" userId="461d7124ec7a38ad" providerId="LiveId" clId="{C3DF72AE-141A-49D0-83B4-D821F2DB467D}" dt="2019-03-28T01:52:15.316" v="234" actId="478"/>
          <ac:grpSpMkLst>
            <pc:docMk/>
            <pc:sldMk cId="1969843946" sldId="324"/>
            <ac:grpSpMk id="7" creationId="{037933AF-90B4-4EA6-9E71-E398E44BDD53}"/>
          </ac:grpSpMkLst>
        </pc:grpChg>
        <pc:picChg chg="add">
          <ac:chgData name="Hiram Fleitas" userId="461d7124ec7a38ad" providerId="LiveId" clId="{C3DF72AE-141A-49D0-83B4-D821F2DB467D}" dt="2019-03-28T01:52:15.878" v="235"/>
          <ac:picMkLst>
            <pc:docMk/>
            <pc:sldMk cId="1969843946" sldId="324"/>
            <ac:picMk id="10" creationId="{30823A3C-FED5-4F46-9A6F-04B450AFF452}"/>
          </ac:picMkLst>
        </pc:picChg>
      </pc:sldChg>
      <pc:sldChg chg="addSp delSp modSp addAnim delAnim modAnim">
        <pc:chgData name="Hiram Fleitas" userId="461d7124ec7a38ad" providerId="LiveId" clId="{C3DF72AE-141A-49D0-83B4-D821F2DB467D}" dt="2019-03-28T01:52:02.534" v="231"/>
        <pc:sldMkLst>
          <pc:docMk/>
          <pc:sldMk cId="1761106601" sldId="327"/>
        </pc:sldMkLst>
        <pc:spChg chg="del mod">
          <ac:chgData name="Hiram Fleitas" userId="461d7124ec7a38ad" providerId="LiveId" clId="{C3DF72AE-141A-49D0-83B4-D821F2DB467D}" dt="2019-03-28T01:25:53.805" v="74"/>
          <ac:spMkLst>
            <pc:docMk/>
            <pc:sldMk cId="1761106601" sldId="327"/>
            <ac:spMk id="7" creationId="{DECFD809-2679-436E-96BF-98C061304A72}"/>
          </ac:spMkLst>
        </pc:spChg>
        <pc:spChg chg="del mod">
          <ac:chgData name="Hiram Fleitas" userId="461d7124ec7a38ad" providerId="LiveId" clId="{C3DF72AE-141A-49D0-83B4-D821F2DB467D}" dt="2019-03-28T01:28:08.864" v="83"/>
          <ac:spMkLst>
            <pc:docMk/>
            <pc:sldMk cId="1761106601" sldId="327"/>
            <ac:spMk id="11" creationId="{FA5F4B15-7F9F-4855-A5E4-C921CC7B260C}"/>
          </ac:spMkLst>
        </pc:spChg>
        <pc:spChg chg="mod">
          <ac:chgData name="Hiram Fleitas" userId="461d7124ec7a38ad" providerId="LiveId" clId="{C3DF72AE-141A-49D0-83B4-D821F2DB467D}" dt="2019-03-28T01:30:09.604" v="88"/>
          <ac:spMkLst>
            <pc:docMk/>
            <pc:sldMk cId="1761106601" sldId="327"/>
            <ac:spMk id="18" creationId="{68CB7135-E830-4CB8-AE7D-4680579DB1EE}"/>
          </ac:spMkLst>
        </pc:spChg>
        <pc:spChg chg="mod">
          <ac:chgData name="Hiram Fleitas" userId="461d7124ec7a38ad" providerId="LiveId" clId="{C3DF72AE-141A-49D0-83B4-D821F2DB467D}" dt="2019-03-28T01:26:49.100" v="79" actId="207"/>
          <ac:spMkLst>
            <pc:docMk/>
            <pc:sldMk cId="1761106601" sldId="327"/>
            <ac:spMk id="20" creationId="{8B4E5366-9584-4092-82F6-032DAC57DDDB}"/>
          </ac:spMkLst>
        </pc:spChg>
        <pc:spChg chg="add del">
          <ac:chgData name="Hiram Fleitas" userId="461d7124ec7a38ad" providerId="LiveId" clId="{C3DF72AE-141A-49D0-83B4-D821F2DB467D}" dt="2019-03-28T01:26:00.685" v="75" actId="478"/>
          <ac:spMkLst>
            <pc:docMk/>
            <pc:sldMk cId="1761106601" sldId="327"/>
            <ac:spMk id="21" creationId="{6F4B82A0-25FC-4FBB-A48F-65681B371FEC}"/>
          </ac:spMkLst>
        </pc:spChg>
        <pc:spChg chg="add mod">
          <ac:chgData name="Hiram Fleitas" userId="461d7124ec7a38ad" providerId="LiveId" clId="{C3DF72AE-141A-49D0-83B4-D821F2DB467D}" dt="2019-03-28T01:26:17.790" v="77" actId="14100"/>
          <ac:spMkLst>
            <pc:docMk/>
            <pc:sldMk cId="1761106601" sldId="327"/>
            <ac:spMk id="22" creationId="{D032AC1B-02E4-43EC-8372-7895C13690DE}"/>
          </ac:spMkLst>
        </pc:spChg>
        <pc:spChg chg="add del">
          <ac:chgData name="Hiram Fleitas" userId="461d7124ec7a38ad" providerId="LiveId" clId="{C3DF72AE-141A-49D0-83B4-D821F2DB467D}" dt="2019-03-28T01:28:13.756" v="84" actId="478"/>
          <ac:spMkLst>
            <pc:docMk/>
            <pc:sldMk cId="1761106601" sldId="327"/>
            <ac:spMk id="23" creationId="{7506ECB6-461E-4AEF-B82F-AA046E32EE23}"/>
          </ac:spMkLst>
        </pc:spChg>
        <pc:spChg chg="add mod">
          <ac:chgData name="Hiram Fleitas" userId="461d7124ec7a38ad" providerId="LiveId" clId="{C3DF72AE-141A-49D0-83B4-D821F2DB467D}" dt="2019-03-28T01:28:46.575" v="86" actId="14100"/>
          <ac:spMkLst>
            <pc:docMk/>
            <pc:sldMk cId="1761106601" sldId="327"/>
            <ac:spMk id="24" creationId="{739E2D52-D4D3-43F7-B624-5E1C81A3B572}"/>
          </ac:spMkLst>
        </pc:spChg>
        <pc:grpChg chg="del">
          <ac:chgData name="Hiram Fleitas" userId="461d7124ec7a38ad" providerId="LiveId" clId="{C3DF72AE-141A-49D0-83B4-D821F2DB467D}" dt="2019-03-28T01:52:01.597" v="230" actId="478"/>
          <ac:grpSpMkLst>
            <pc:docMk/>
            <pc:sldMk cId="1761106601" sldId="327"/>
            <ac:grpSpMk id="9" creationId="{9DCF65ED-7529-4CEF-8F7B-37F17284CF4E}"/>
          </ac:grpSpMkLst>
        </pc:grpChg>
        <pc:grpChg chg="add">
          <ac:chgData name="Hiram Fleitas" userId="461d7124ec7a38ad" providerId="LiveId" clId="{C3DF72AE-141A-49D0-83B4-D821F2DB467D}" dt="2019-03-28T01:25:35.680" v="72"/>
          <ac:grpSpMkLst>
            <pc:docMk/>
            <pc:sldMk cId="1761106601" sldId="327"/>
            <ac:grpSpMk id="17" creationId="{78077DD3-CBCC-48DB-AE17-E4A724E2A55C}"/>
          </ac:grpSpMkLst>
        </pc:grpChg>
        <pc:picChg chg="del">
          <ac:chgData name="Hiram Fleitas" userId="461d7124ec7a38ad" providerId="LiveId" clId="{C3DF72AE-141A-49D0-83B4-D821F2DB467D}" dt="2019-03-28T01:23:44.758" v="57" actId="478"/>
          <ac:picMkLst>
            <pc:docMk/>
            <pc:sldMk cId="1761106601" sldId="327"/>
            <ac:picMk id="12" creationId="{E49C8EA9-0A47-46D0-AC4A-37723C0974CD}"/>
          </ac:picMkLst>
        </pc:picChg>
        <pc:picChg chg="add del ord">
          <ac:chgData name="Hiram Fleitas" userId="461d7124ec7a38ad" providerId="LiveId" clId="{C3DF72AE-141A-49D0-83B4-D821F2DB467D}" dt="2019-03-28T01:24:59.505" v="69" actId="478"/>
          <ac:picMkLst>
            <pc:docMk/>
            <pc:sldMk cId="1761106601" sldId="327"/>
            <ac:picMk id="14" creationId="{18241D0E-2B7D-4319-AF5B-FEC7FAA2B4E3}"/>
          </ac:picMkLst>
        </pc:picChg>
        <pc:picChg chg="add">
          <ac:chgData name="Hiram Fleitas" userId="461d7124ec7a38ad" providerId="LiveId" clId="{C3DF72AE-141A-49D0-83B4-D821F2DB467D}" dt="2019-03-28T01:23:41.024" v="56"/>
          <ac:picMkLst>
            <pc:docMk/>
            <pc:sldMk cId="1761106601" sldId="327"/>
            <ac:picMk id="15" creationId="{894463A1-28D0-4986-8D26-9BF4E5F0D2A5}"/>
          </ac:picMkLst>
        </pc:picChg>
        <pc:picChg chg="add del mod modCrop">
          <ac:chgData name="Hiram Fleitas" userId="461d7124ec7a38ad" providerId="LiveId" clId="{C3DF72AE-141A-49D0-83B4-D821F2DB467D}" dt="2019-03-28T01:31:55.342" v="100"/>
          <ac:picMkLst>
            <pc:docMk/>
            <pc:sldMk cId="1761106601" sldId="327"/>
            <ac:picMk id="16" creationId="{B1E60E9E-BCA3-40A8-8470-C3B572DE608A}"/>
          </ac:picMkLst>
        </pc:picChg>
        <pc:picChg chg="del mod modCrop">
          <ac:chgData name="Hiram Fleitas" userId="461d7124ec7a38ad" providerId="LiveId" clId="{C3DF72AE-141A-49D0-83B4-D821F2DB467D}" dt="2019-03-28T01:24:56.583" v="68"/>
          <ac:picMkLst>
            <pc:docMk/>
            <pc:sldMk cId="1761106601" sldId="327"/>
            <ac:picMk id="19" creationId="{BD4B7BE7-C6F9-408A-93EB-0C830EFA62CD}"/>
          </ac:picMkLst>
        </pc:picChg>
        <pc:picChg chg="add del mod">
          <ac:chgData name="Hiram Fleitas" userId="461d7124ec7a38ad" providerId="LiveId" clId="{C3DF72AE-141A-49D0-83B4-D821F2DB467D}" dt="2019-03-28T01:31:23.708" v="94" actId="478"/>
          <ac:picMkLst>
            <pc:docMk/>
            <pc:sldMk cId="1761106601" sldId="327"/>
            <ac:picMk id="25" creationId="{8C225A53-C25B-4824-946B-8C511244F6BA}"/>
          </ac:picMkLst>
        </pc:picChg>
        <pc:picChg chg="add">
          <ac:chgData name="Hiram Fleitas" userId="461d7124ec7a38ad" providerId="LiveId" clId="{C3DF72AE-141A-49D0-83B4-D821F2DB467D}" dt="2019-03-28T01:52:02.534" v="231"/>
          <ac:picMkLst>
            <pc:docMk/>
            <pc:sldMk cId="1761106601" sldId="327"/>
            <ac:picMk id="26" creationId="{D2687F50-6C20-4512-AA04-4D5577E9C746}"/>
          </ac:picMkLst>
        </pc:picChg>
      </pc:sldChg>
      <pc:sldChg chg="addSp delSp">
        <pc:chgData name="Hiram Fleitas" userId="461d7124ec7a38ad" providerId="LiveId" clId="{C3DF72AE-141A-49D0-83B4-D821F2DB467D}" dt="2019-03-28T15:25:10.143" v="348" actId="478"/>
        <pc:sldMkLst>
          <pc:docMk/>
          <pc:sldMk cId="3755768089" sldId="332"/>
        </pc:sldMkLst>
        <pc:spChg chg="add del">
          <ac:chgData name="Hiram Fleitas" userId="461d7124ec7a38ad" providerId="LiveId" clId="{C3DF72AE-141A-49D0-83B4-D821F2DB467D}" dt="2019-03-28T15:25:04.721" v="347" actId="478"/>
          <ac:spMkLst>
            <pc:docMk/>
            <pc:sldMk cId="3755768089" sldId="332"/>
            <ac:spMk id="28" creationId="{EB6C1B61-A0AA-40F1-8840-A62A7E42A769}"/>
          </ac:spMkLst>
        </pc:spChg>
        <pc:grpChg chg="del">
          <ac:chgData name="Hiram Fleitas" userId="461d7124ec7a38ad" providerId="LiveId" clId="{C3DF72AE-141A-49D0-83B4-D821F2DB467D}" dt="2019-03-28T01:52:08.159" v="232" actId="478"/>
          <ac:grpSpMkLst>
            <pc:docMk/>
            <pc:sldMk cId="3755768089" sldId="332"/>
            <ac:grpSpMk id="29" creationId="{9EAE5C35-A4F6-4FA1-99E4-778CD2E0253C}"/>
          </ac:grpSpMkLst>
        </pc:grpChg>
        <pc:picChg chg="add del">
          <ac:chgData name="Hiram Fleitas" userId="461d7124ec7a38ad" providerId="LiveId" clId="{C3DF72AE-141A-49D0-83B4-D821F2DB467D}" dt="2019-03-28T15:25:10.143" v="348" actId="478"/>
          <ac:picMkLst>
            <pc:docMk/>
            <pc:sldMk cId="3755768089" sldId="332"/>
            <ac:picMk id="25" creationId="{82D3E1F7-DB30-4552-ADAE-1388A2AFDD1C}"/>
          </ac:picMkLst>
        </pc:picChg>
      </pc:sldChg>
      <pc:sldChg chg="addSp delSp modSp">
        <pc:chgData name="Hiram Fleitas" userId="461d7124ec7a38ad" providerId="LiveId" clId="{C3DF72AE-141A-49D0-83B4-D821F2DB467D}" dt="2019-03-28T01:50:58.593" v="213"/>
        <pc:sldMkLst>
          <pc:docMk/>
          <pc:sldMk cId="3550446227" sldId="370"/>
        </pc:sldMkLst>
        <pc:spChg chg="add mod">
          <ac:chgData name="Hiram Fleitas" userId="461d7124ec7a38ad" providerId="LiveId" clId="{C3DF72AE-141A-49D0-83B4-D821F2DB467D}" dt="2019-03-28T01:04:49.694" v="40"/>
          <ac:spMkLst>
            <pc:docMk/>
            <pc:sldMk cId="3550446227" sldId="370"/>
            <ac:spMk id="15" creationId="{9FE78C64-7F18-4CC8-9E44-39E3B40A4738}"/>
          </ac:spMkLst>
        </pc:spChg>
        <pc:spChg chg="add mod">
          <ac:chgData name="Hiram Fleitas" userId="461d7124ec7a38ad" providerId="LiveId" clId="{C3DF72AE-141A-49D0-83B4-D821F2DB467D}" dt="2019-03-28T01:05:18.351" v="44" actId="14100"/>
          <ac:spMkLst>
            <pc:docMk/>
            <pc:sldMk cId="3550446227" sldId="370"/>
            <ac:spMk id="16" creationId="{DB238B42-6F5B-4A82-8FFC-DF11E142E619}"/>
          </ac:spMkLst>
        </pc:spChg>
        <pc:spChg chg="mod">
          <ac:chgData name="Hiram Fleitas" userId="461d7124ec7a38ad" providerId="LiveId" clId="{C3DF72AE-141A-49D0-83B4-D821F2DB467D}" dt="2019-03-28T01:03:11.954" v="28" actId="14100"/>
          <ac:spMkLst>
            <pc:docMk/>
            <pc:sldMk cId="3550446227" sldId="370"/>
            <ac:spMk id="41" creationId="{68EE56C9-6ACF-4D0B-AD38-4C31698D7C49}"/>
          </ac:spMkLst>
        </pc:spChg>
        <pc:spChg chg="mod">
          <ac:chgData name="Hiram Fleitas" userId="461d7124ec7a38ad" providerId="LiveId" clId="{C3DF72AE-141A-49D0-83B4-D821F2DB467D}" dt="2019-03-28T01:03:06.614" v="26" actId="14100"/>
          <ac:spMkLst>
            <pc:docMk/>
            <pc:sldMk cId="3550446227" sldId="370"/>
            <ac:spMk id="42" creationId="{2DBA0FFF-F002-4769-9A08-472C00E4C3A7}"/>
          </ac:spMkLst>
        </pc:spChg>
        <pc:spChg chg="mod">
          <ac:chgData name="Hiram Fleitas" userId="461d7124ec7a38ad" providerId="LiveId" clId="{C3DF72AE-141A-49D0-83B4-D821F2DB467D}" dt="2019-03-28T01:03:19.299" v="30" actId="14100"/>
          <ac:spMkLst>
            <pc:docMk/>
            <pc:sldMk cId="3550446227" sldId="370"/>
            <ac:spMk id="43" creationId="{1986E60A-9502-46E0-9731-94A6FE30FCB6}"/>
          </ac:spMkLst>
        </pc:spChg>
        <pc:spChg chg="mod">
          <ac:chgData name="Hiram Fleitas" userId="461d7124ec7a38ad" providerId="LiveId" clId="{C3DF72AE-141A-49D0-83B4-D821F2DB467D}" dt="2019-03-28T01:03:25.615" v="32" actId="14100"/>
          <ac:spMkLst>
            <pc:docMk/>
            <pc:sldMk cId="3550446227" sldId="370"/>
            <ac:spMk id="44" creationId="{4DB4ADF7-406D-48B9-AFFA-C4616A8BCBAE}"/>
          </ac:spMkLst>
        </pc:spChg>
        <pc:spChg chg="mod">
          <ac:chgData name="Hiram Fleitas" userId="461d7124ec7a38ad" providerId="LiveId" clId="{C3DF72AE-141A-49D0-83B4-D821F2DB467D}" dt="2019-03-28T01:04:00.784" v="36"/>
          <ac:spMkLst>
            <pc:docMk/>
            <pc:sldMk cId="3550446227" sldId="370"/>
            <ac:spMk id="45" creationId="{953123F1-5378-473E-A623-7A558FA8F248}"/>
          </ac:spMkLst>
        </pc:spChg>
        <pc:spChg chg="mod">
          <ac:chgData name="Hiram Fleitas" userId="461d7124ec7a38ad" providerId="LiveId" clId="{C3DF72AE-141A-49D0-83B4-D821F2DB467D}" dt="2019-03-28T01:03:37.604" v="35" actId="14100"/>
          <ac:spMkLst>
            <pc:docMk/>
            <pc:sldMk cId="3550446227" sldId="370"/>
            <ac:spMk id="46" creationId="{42BEA1A9-69FE-489C-A348-F7573C6A2CCF}"/>
          </ac:spMkLst>
        </pc:spChg>
        <pc:grpChg chg="del">
          <ac:chgData name="Hiram Fleitas" userId="461d7124ec7a38ad" providerId="LiveId" clId="{C3DF72AE-141A-49D0-83B4-D821F2DB467D}" dt="2019-03-28T01:50:57.374" v="212" actId="478"/>
          <ac:grpSpMkLst>
            <pc:docMk/>
            <pc:sldMk cId="3550446227" sldId="370"/>
            <ac:grpSpMk id="11" creationId="{7E5EE838-8181-44B6-9C08-7C9C7C8EB40B}"/>
          </ac:grpSpMkLst>
        </pc:grpChg>
        <pc:picChg chg="add del">
          <ac:chgData name="Hiram Fleitas" userId="461d7124ec7a38ad" providerId="LiveId" clId="{C3DF72AE-141A-49D0-83B4-D821F2DB467D}" dt="2019-03-28T00:58:58.988" v="2"/>
          <ac:picMkLst>
            <pc:docMk/>
            <pc:sldMk cId="3550446227" sldId="370"/>
            <ac:picMk id="2" creationId="{A5ED819A-0F70-42CF-8C0D-0A7316675F3B}"/>
          </ac:picMkLst>
        </pc:picChg>
        <pc:picChg chg="add ord">
          <ac:chgData name="Hiram Fleitas" userId="461d7124ec7a38ad" providerId="LiveId" clId="{C3DF72AE-141A-49D0-83B4-D821F2DB467D}" dt="2019-03-28T01:00:49.987" v="7" actId="167"/>
          <ac:picMkLst>
            <pc:docMk/>
            <pc:sldMk cId="3550446227" sldId="370"/>
            <ac:picMk id="3" creationId="{B436C35D-D0BD-438A-AC31-A77278AB1E97}"/>
          </ac:picMkLst>
        </pc:picChg>
        <pc:picChg chg="add">
          <ac:chgData name="Hiram Fleitas" userId="461d7124ec7a38ad" providerId="LiveId" clId="{C3DF72AE-141A-49D0-83B4-D821F2DB467D}" dt="2019-03-28T01:50:58.593" v="213"/>
          <ac:picMkLst>
            <pc:docMk/>
            <pc:sldMk cId="3550446227" sldId="370"/>
            <ac:picMk id="17" creationId="{47F54F54-0A1D-4B09-B203-15FC80B6A4DA}"/>
          </ac:picMkLst>
        </pc:picChg>
        <pc:picChg chg="add del">
          <ac:chgData name="Hiram Fleitas" userId="461d7124ec7a38ad" providerId="LiveId" clId="{C3DF72AE-141A-49D0-83B4-D821F2DB467D}" dt="2019-03-28T01:00:40.091" v="4" actId="478"/>
          <ac:picMkLst>
            <pc:docMk/>
            <pc:sldMk cId="3550446227" sldId="370"/>
            <ac:picMk id="34" creationId="{C75510AB-B451-4DCD-8D2E-C2BF735FA73B}"/>
          </ac:picMkLst>
        </pc:picChg>
      </pc:sldChg>
      <pc:sldChg chg="addSp delSp">
        <pc:chgData name="Hiram Fleitas" userId="461d7124ec7a38ad" providerId="LiveId" clId="{C3DF72AE-141A-49D0-83B4-D821F2DB467D}" dt="2019-03-28T01:51:06.827" v="215"/>
        <pc:sldMkLst>
          <pc:docMk/>
          <pc:sldMk cId="3158239655" sldId="371"/>
        </pc:sldMkLst>
        <pc:grpChg chg="del">
          <ac:chgData name="Hiram Fleitas" userId="461d7124ec7a38ad" providerId="LiveId" clId="{C3DF72AE-141A-49D0-83B4-D821F2DB467D}" dt="2019-03-28T01:51:05.936" v="214" actId="478"/>
          <ac:grpSpMkLst>
            <pc:docMk/>
            <pc:sldMk cId="3158239655" sldId="371"/>
            <ac:grpSpMk id="26" creationId="{A06B3914-3AEF-4266-8D2C-CFF0525B93A2}"/>
          </ac:grpSpMkLst>
        </pc:grpChg>
        <pc:picChg chg="add">
          <ac:chgData name="Hiram Fleitas" userId="461d7124ec7a38ad" providerId="LiveId" clId="{C3DF72AE-141A-49D0-83B4-D821F2DB467D}" dt="2019-03-28T01:51:06.827" v="215"/>
          <ac:picMkLst>
            <pc:docMk/>
            <pc:sldMk cId="3158239655" sldId="371"/>
            <ac:picMk id="30" creationId="{5BA83E43-7837-4456-AB2F-15F8E64D9722}"/>
          </ac:picMkLst>
        </pc:picChg>
      </pc:sldChg>
      <pc:sldChg chg="addSp delSp">
        <pc:chgData name="Hiram Fleitas" userId="461d7124ec7a38ad" providerId="LiveId" clId="{C3DF72AE-141A-49D0-83B4-D821F2DB467D}" dt="2019-03-28T01:53:38.369" v="252"/>
        <pc:sldMkLst>
          <pc:docMk/>
          <pc:sldMk cId="4091502606" sldId="529"/>
        </pc:sldMkLst>
        <pc:grpChg chg="del">
          <ac:chgData name="Hiram Fleitas" userId="461d7124ec7a38ad" providerId="LiveId" clId="{C3DF72AE-141A-49D0-83B4-D821F2DB467D}" dt="2019-03-28T01:53:37.447" v="251" actId="478"/>
          <ac:grpSpMkLst>
            <pc:docMk/>
            <pc:sldMk cId="4091502606" sldId="529"/>
            <ac:grpSpMk id="21" creationId="{764E240E-5C5D-4708-B027-A5B7D0136E62}"/>
          </ac:grpSpMkLst>
        </pc:grpChg>
        <pc:picChg chg="add">
          <ac:chgData name="Hiram Fleitas" userId="461d7124ec7a38ad" providerId="LiveId" clId="{C3DF72AE-141A-49D0-83B4-D821F2DB467D}" dt="2019-03-28T01:53:38.369" v="252"/>
          <ac:picMkLst>
            <pc:docMk/>
            <pc:sldMk cId="4091502606" sldId="529"/>
            <ac:picMk id="11" creationId="{65F2397F-1D9E-4FA1-8F27-03D94E2A6827}"/>
          </ac:picMkLst>
        </pc:picChg>
      </pc:sldChg>
      <pc:sldChg chg="addSp delSp">
        <pc:chgData name="Hiram Fleitas" userId="461d7124ec7a38ad" providerId="LiveId" clId="{C3DF72AE-141A-49D0-83B4-D821F2DB467D}" dt="2019-03-28T01:51:22.686" v="219"/>
        <pc:sldMkLst>
          <pc:docMk/>
          <pc:sldMk cId="2390529645" sldId="592"/>
        </pc:sldMkLst>
        <pc:grpChg chg="del">
          <ac:chgData name="Hiram Fleitas" userId="461d7124ec7a38ad" providerId="LiveId" clId="{C3DF72AE-141A-49D0-83B4-D821F2DB467D}" dt="2019-03-28T01:51:21.795" v="218" actId="478"/>
          <ac:grpSpMkLst>
            <pc:docMk/>
            <pc:sldMk cId="2390529645" sldId="592"/>
            <ac:grpSpMk id="27" creationId="{E17A27E3-B025-41C1-9972-E87A28B708E7}"/>
          </ac:grpSpMkLst>
        </pc:grpChg>
        <pc:picChg chg="add">
          <ac:chgData name="Hiram Fleitas" userId="461d7124ec7a38ad" providerId="LiveId" clId="{C3DF72AE-141A-49D0-83B4-D821F2DB467D}" dt="2019-03-28T01:51:22.686" v="219"/>
          <ac:picMkLst>
            <pc:docMk/>
            <pc:sldMk cId="2390529645" sldId="592"/>
            <ac:picMk id="15" creationId="{31C3EE62-5132-4E96-BAC4-FDECB31984E9}"/>
          </ac:picMkLst>
        </pc:picChg>
      </pc:sldChg>
      <pc:sldChg chg="addSp delSp modSp">
        <pc:chgData name="Hiram Fleitas" userId="461d7124ec7a38ad" providerId="LiveId" clId="{C3DF72AE-141A-49D0-83B4-D821F2DB467D}" dt="2019-03-28T01:52:33.366" v="238"/>
        <pc:sldMkLst>
          <pc:docMk/>
          <pc:sldMk cId="4172075436" sldId="594"/>
        </pc:sldMkLst>
        <pc:grpChg chg="del">
          <ac:chgData name="Hiram Fleitas" userId="461d7124ec7a38ad" providerId="LiveId" clId="{C3DF72AE-141A-49D0-83B4-D821F2DB467D}" dt="2019-03-28T01:52:32.257" v="237" actId="478"/>
          <ac:grpSpMkLst>
            <pc:docMk/>
            <pc:sldMk cId="4172075436" sldId="594"/>
            <ac:grpSpMk id="9" creationId="{103099C3-B8D2-4A28-8F7D-7932607BA390}"/>
          </ac:grpSpMkLst>
        </pc:grpChg>
        <pc:picChg chg="add">
          <ac:chgData name="Hiram Fleitas" userId="461d7124ec7a38ad" providerId="LiveId" clId="{C3DF72AE-141A-49D0-83B4-D821F2DB467D}" dt="2019-03-28T01:52:33.366" v="238"/>
          <ac:picMkLst>
            <pc:docMk/>
            <pc:sldMk cId="4172075436" sldId="594"/>
            <ac:picMk id="11" creationId="{D21BBCB7-DFB4-47B4-84A4-AC641BDD36BD}"/>
          </ac:picMkLst>
        </pc:picChg>
        <pc:picChg chg="ord">
          <ac:chgData name="Hiram Fleitas" userId="461d7124ec7a38ad" providerId="LiveId" clId="{C3DF72AE-141A-49D0-83B4-D821F2DB467D}" dt="2019-03-28T01:52:28.788" v="236" actId="167"/>
          <ac:picMkLst>
            <pc:docMk/>
            <pc:sldMk cId="4172075436" sldId="594"/>
            <ac:picMk id="26" creationId="{47745DC3-FA21-4F25-B87F-81891E3E5837}"/>
          </ac:picMkLst>
        </pc:picChg>
      </pc:sldChg>
      <pc:sldChg chg="addSp delSp">
        <pc:chgData name="Hiram Fleitas" userId="461d7124ec7a38ad" providerId="LiveId" clId="{C3DF72AE-141A-49D0-83B4-D821F2DB467D}" dt="2019-03-28T01:51:29.297" v="221"/>
        <pc:sldMkLst>
          <pc:docMk/>
          <pc:sldMk cId="448541041" sldId="601"/>
        </pc:sldMkLst>
        <pc:grpChg chg="del">
          <ac:chgData name="Hiram Fleitas" userId="461d7124ec7a38ad" providerId="LiveId" clId="{C3DF72AE-141A-49D0-83B4-D821F2DB467D}" dt="2019-03-28T01:51:28.297" v="220" actId="478"/>
          <ac:grpSpMkLst>
            <pc:docMk/>
            <pc:sldMk cId="448541041" sldId="601"/>
            <ac:grpSpMk id="9" creationId="{FEE8325E-D5D8-4983-A1DA-BCC8CC926D48}"/>
          </ac:grpSpMkLst>
        </pc:grpChg>
        <pc:picChg chg="add">
          <ac:chgData name="Hiram Fleitas" userId="461d7124ec7a38ad" providerId="LiveId" clId="{C3DF72AE-141A-49D0-83B4-D821F2DB467D}" dt="2019-03-28T01:51:29.297" v="221"/>
          <ac:picMkLst>
            <pc:docMk/>
            <pc:sldMk cId="448541041" sldId="601"/>
            <ac:picMk id="13" creationId="{9B63A4C3-3498-4431-9A92-E50FE3BAD6E8}"/>
          </ac:picMkLst>
        </pc:picChg>
      </pc:sldChg>
      <pc:sldChg chg="addSp delSp">
        <pc:chgData name="Hiram Fleitas" userId="461d7124ec7a38ad" providerId="LiveId" clId="{C3DF72AE-141A-49D0-83B4-D821F2DB467D}" dt="2019-03-28T01:51:36.531" v="223"/>
        <pc:sldMkLst>
          <pc:docMk/>
          <pc:sldMk cId="3030542895" sldId="602"/>
        </pc:sldMkLst>
        <pc:grpChg chg="del">
          <ac:chgData name="Hiram Fleitas" userId="461d7124ec7a38ad" providerId="LiveId" clId="{C3DF72AE-141A-49D0-83B4-D821F2DB467D}" dt="2019-03-28T01:51:35.703" v="222" actId="478"/>
          <ac:grpSpMkLst>
            <pc:docMk/>
            <pc:sldMk cId="3030542895" sldId="602"/>
            <ac:grpSpMk id="9" creationId="{FEE8325E-D5D8-4983-A1DA-BCC8CC926D48}"/>
          </ac:grpSpMkLst>
        </pc:grpChg>
        <pc:picChg chg="add">
          <ac:chgData name="Hiram Fleitas" userId="461d7124ec7a38ad" providerId="LiveId" clId="{C3DF72AE-141A-49D0-83B4-D821F2DB467D}" dt="2019-03-28T01:51:36.531" v="223"/>
          <ac:picMkLst>
            <pc:docMk/>
            <pc:sldMk cId="3030542895" sldId="602"/>
            <ac:picMk id="13" creationId="{A85DB675-FF07-4C3B-89B2-9ADF159C9EF4}"/>
          </ac:picMkLst>
        </pc:picChg>
      </pc:sldChg>
      <pc:sldChg chg="addSp delSp modSp modNotesTx">
        <pc:chgData name="Hiram Fleitas" userId="461d7124ec7a38ad" providerId="LiveId" clId="{C3DF72AE-141A-49D0-83B4-D821F2DB467D}" dt="2019-03-28T20:50:52.177" v="423" actId="1076"/>
        <pc:sldMkLst>
          <pc:docMk/>
          <pc:sldMk cId="1221746463" sldId="609"/>
        </pc:sldMkLst>
        <pc:spChg chg="add del mod">
          <ac:chgData name="Hiram Fleitas" userId="461d7124ec7a38ad" providerId="LiveId" clId="{C3DF72AE-141A-49D0-83B4-D821F2DB467D}" dt="2019-03-28T20:49:49.287" v="404" actId="478"/>
          <ac:spMkLst>
            <pc:docMk/>
            <pc:sldMk cId="1221746463" sldId="609"/>
            <ac:spMk id="19" creationId="{1A7DD398-38E5-4A1E-98D7-3E382B38D26E}"/>
          </ac:spMkLst>
        </pc:spChg>
        <pc:grpChg chg="add del">
          <ac:chgData name="Hiram Fleitas" userId="461d7124ec7a38ad" providerId="LiveId" clId="{C3DF72AE-141A-49D0-83B4-D821F2DB467D}" dt="2019-03-28T01:46:11.945" v="172" actId="478"/>
          <ac:grpSpMkLst>
            <pc:docMk/>
            <pc:sldMk cId="1221746463" sldId="609"/>
            <ac:grpSpMk id="9" creationId="{FEE8325E-D5D8-4983-A1DA-BCC8CC926D48}"/>
          </ac:grpSpMkLst>
        </pc:grpChg>
        <pc:picChg chg="add del">
          <ac:chgData name="Hiram Fleitas" userId="461d7124ec7a38ad" providerId="LiveId" clId="{C3DF72AE-141A-49D0-83B4-D821F2DB467D}" dt="2019-03-28T01:38:35.352" v="131" actId="478"/>
          <ac:picMkLst>
            <pc:docMk/>
            <pc:sldMk cId="1221746463" sldId="609"/>
            <ac:picMk id="2" creationId="{827F6BB9-389D-456D-BCEC-F10548BC6FEF}"/>
          </ac:picMkLst>
        </pc:picChg>
        <pc:picChg chg="add del">
          <ac:chgData name="Hiram Fleitas" userId="461d7124ec7a38ad" providerId="LiveId" clId="{C3DF72AE-141A-49D0-83B4-D821F2DB467D}" dt="2019-03-28T01:39:08.067" v="133" actId="478"/>
          <ac:picMkLst>
            <pc:docMk/>
            <pc:sldMk cId="1221746463" sldId="609"/>
            <ac:picMk id="3" creationId="{2042A319-89D5-4BCF-A564-08EF65522D93}"/>
          </ac:picMkLst>
        </pc:picChg>
        <pc:picChg chg="add del">
          <ac:chgData name="Hiram Fleitas" userId="461d7124ec7a38ad" providerId="LiveId" clId="{C3DF72AE-141A-49D0-83B4-D821F2DB467D}" dt="2019-03-28T01:39:47.888" v="135"/>
          <ac:picMkLst>
            <pc:docMk/>
            <pc:sldMk cId="1221746463" sldId="609"/>
            <ac:picMk id="4" creationId="{E0EA51F7-9B6E-4AC5-B509-4C3D593D8F80}"/>
          </ac:picMkLst>
        </pc:picChg>
        <pc:picChg chg="add del">
          <ac:chgData name="Hiram Fleitas" userId="461d7124ec7a38ad" providerId="LiveId" clId="{C3DF72AE-141A-49D0-83B4-D821F2DB467D}" dt="2019-03-28T01:40:02.511" v="137"/>
          <ac:picMkLst>
            <pc:docMk/>
            <pc:sldMk cId="1221746463" sldId="609"/>
            <ac:picMk id="5" creationId="{FC269A20-DA29-4A9A-BD94-5464326F68E4}"/>
          </ac:picMkLst>
        </pc:picChg>
        <pc:picChg chg="add del">
          <ac:chgData name="Hiram Fleitas" userId="461d7124ec7a38ad" providerId="LiveId" clId="{C3DF72AE-141A-49D0-83B4-D821F2DB467D}" dt="2019-03-28T01:40:19.235" v="139" actId="478"/>
          <ac:picMkLst>
            <pc:docMk/>
            <pc:sldMk cId="1221746463" sldId="609"/>
            <ac:picMk id="6" creationId="{38F22AFC-812B-4CAE-B7D2-4281536304A0}"/>
          </ac:picMkLst>
        </pc:picChg>
        <pc:picChg chg="add del">
          <ac:chgData name="Hiram Fleitas" userId="461d7124ec7a38ad" providerId="LiveId" clId="{C3DF72AE-141A-49D0-83B4-D821F2DB467D}" dt="2019-03-28T01:40:36.997" v="141"/>
          <ac:picMkLst>
            <pc:docMk/>
            <pc:sldMk cId="1221746463" sldId="609"/>
            <ac:picMk id="7" creationId="{0D6BC035-969A-4B8A-BE5C-84C97286D29E}"/>
          </ac:picMkLst>
        </pc:picChg>
        <pc:picChg chg="add del ord">
          <ac:chgData name="Hiram Fleitas" userId="461d7124ec7a38ad" providerId="LiveId" clId="{C3DF72AE-141A-49D0-83B4-D821F2DB467D}" dt="2019-03-28T20:39:52.273" v="367" actId="478"/>
          <ac:picMkLst>
            <pc:docMk/>
            <pc:sldMk cId="1221746463" sldId="609"/>
            <ac:picMk id="12" creationId="{E3C03C21-ED22-4B42-B372-7DEAC788A8EF}"/>
          </ac:picMkLst>
        </pc:picChg>
        <pc:picChg chg="add del mod">
          <ac:chgData name="Hiram Fleitas" userId="461d7124ec7a38ad" providerId="LiveId" clId="{C3DF72AE-141A-49D0-83B4-D821F2DB467D}" dt="2019-03-28T01:46:08.664" v="171" actId="478"/>
          <ac:picMkLst>
            <pc:docMk/>
            <pc:sldMk cId="1221746463" sldId="609"/>
            <ac:picMk id="13" creationId="{33B24A93-FC6D-49FD-A1F8-784C59E268D4}"/>
          </ac:picMkLst>
        </pc:picChg>
        <pc:picChg chg="add ord">
          <ac:chgData name="Hiram Fleitas" userId="461d7124ec7a38ad" providerId="LiveId" clId="{C3DF72AE-141A-49D0-83B4-D821F2DB467D}" dt="2019-03-28T20:39:55.886" v="369" actId="167"/>
          <ac:picMkLst>
            <pc:docMk/>
            <pc:sldMk cId="1221746463" sldId="609"/>
            <ac:picMk id="14" creationId="{3E93BB79-C0D4-485A-ADCD-232D23A28852}"/>
          </ac:picMkLst>
        </pc:picChg>
        <pc:picChg chg="add del mod">
          <ac:chgData name="Hiram Fleitas" userId="461d7124ec7a38ad" providerId="LiveId" clId="{C3DF72AE-141A-49D0-83B4-D821F2DB467D}" dt="2019-03-28T01:47:13.413" v="183" actId="478"/>
          <ac:picMkLst>
            <pc:docMk/>
            <pc:sldMk cId="1221746463" sldId="609"/>
            <ac:picMk id="15" creationId="{D31D9B2A-165C-4890-835F-07BE1E6FDB71}"/>
          </ac:picMkLst>
        </pc:picChg>
        <pc:picChg chg="add del">
          <ac:chgData name="Hiram Fleitas" userId="461d7124ec7a38ad" providerId="LiveId" clId="{C3DF72AE-141A-49D0-83B4-D821F2DB467D}" dt="2019-03-28T01:53:45.009" v="253" actId="478"/>
          <ac:picMkLst>
            <pc:docMk/>
            <pc:sldMk cId="1221746463" sldId="609"/>
            <ac:picMk id="16" creationId="{B290F06E-4578-4263-9BDB-A7590BE2FF75}"/>
          </ac:picMkLst>
        </pc:picChg>
        <pc:picChg chg="add">
          <ac:chgData name="Hiram Fleitas" userId="461d7124ec7a38ad" providerId="LiveId" clId="{C3DF72AE-141A-49D0-83B4-D821F2DB467D}" dt="2019-03-28T01:53:45.900" v="254"/>
          <ac:picMkLst>
            <pc:docMk/>
            <pc:sldMk cId="1221746463" sldId="609"/>
            <ac:picMk id="17" creationId="{95251286-BA74-4323-8B70-EADD5FDCCC42}"/>
          </ac:picMkLst>
        </pc:picChg>
        <pc:picChg chg="add mod">
          <ac:chgData name="Hiram Fleitas" userId="461d7124ec7a38ad" providerId="LiveId" clId="{C3DF72AE-141A-49D0-83B4-D821F2DB467D}" dt="2019-03-28T20:50:52.177" v="423" actId="1076"/>
          <ac:picMkLst>
            <pc:docMk/>
            <pc:sldMk cId="1221746463" sldId="609"/>
            <ac:picMk id="20" creationId="{48ADB4FC-A9FF-4D2E-AF4C-242A60B4E528}"/>
          </ac:picMkLst>
        </pc:picChg>
        <pc:picChg chg="del">
          <ac:chgData name="Hiram Fleitas" userId="461d7124ec7a38ad" providerId="LiveId" clId="{C3DF72AE-141A-49D0-83B4-D821F2DB467D}" dt="2019-03-28T01:38:29.769" v="129" actId="478"/>
          <ac:picMkLst>
            <pc:docMk/>
            <pc:sldMk cId="1221746463" sldId="609"/>
            <ac:picMk id="22" creationId="{A4CE5D7F-5CC1-446E-A565-4F20EF4F4270}"/>
          </ac:picMkLst>
        </pc:picChg>
      </pc:sldChg>
      <pc:sldChg chg="addSp delSp modSp">
        <pc:chgData name="Hiram Fleitas" userId="461d7124ec7a38ad" providerId="LiveId" clId="{C3DF72AE-141A-49D0-83B4-D821F2DB467D}" dt="2019-03-28T20:40:01.215" v="370" actId="167"/>
        <pc:sldMkLst>
          <pc:docMk/>
          <pc:sldMk cId="668275305" sldId="611"/>
        </pc:sldMkLst>
        <pc:grpChg chg="del">
          <ac:chgData name="Hiram Fleitas" userId="461d7124ec7a38ad" providerId="LiveId" clId="{C3DF72AE-141A-49D0-83B4-D821F2DB467D}" dt="2019-03-28T01:53:55.540" v="255" actId="478"/>
          <ac:grpSpMkLst>
            <pc:docMk/>
            <pc:sldMk cId="668275305" sldId="611"/>
            <ac:grpSpMk id="9" creationId="{FEE8325E-D5D8-4983-A1DA-BCC8CC926D48}"/>
          </ac:grpSpMkLst>
        </pc:grpChg>
        <pc:picChg chg="del">
          <ac:chgData name="Hiram Fleitas" userId="461d7124ec7a38ad" providerId="LiveId" clId="{C3DF72AE-141A-49D0-83B4-D821F2DB467D}" dt="2019-03-28T01:41:57.569" v="144" actId="478"/>
          <ac:picMkLst>
            <pc:docMk/>
            <pc:sldMk cId="668275305" sldId="611"/>
            <ac:picMk id="2" creationId="{2387D461-16D4-4732-9A51-BC6C75A56AA3}"/>
          </ac:picMkLst>
        </pc:picChg>
        <pc:picChg chg="add del ord">
          <ac:chgData name="Hiram Fleitas" userId="461d7124ec7a38ad" providerId="LiveId" clId="{C3DF72AE-141A-49D0-83B4-D821F2DB467D}" dt="2019-03-28T20:38:07.700" v="349" actId="478"/>
          <ac:picMkLst>
            <pc:docMk/>
            <pc:sldMk cId="668275305" sldId="611"/>
            <ac:picMk id="3" creationId="{1581E792-F1A3-46A2-AD1E-050D65452EE3}"/>
          </ac:picMkLst>
        </pc:picChg>
        <pc:picChg chg="add del">
          <ac:chgData name="Hiram Fleitas" userId="461d7124ec7a38ad" providerId="LiveId" clId="{C3DF72AE-141A-49D0-83B4-D821F2DB467D}" dt="2019-03-28T20:38:17.725" v="351" actId="478"/>
          <ac:picMkLst>
            <pc:docMk/>
            <pc:sldMk cId="668275305" sldId="611"/>
            <ac:picMk id="4" creationId="{23B58ABA-0119-4E6F-8DD0-A14DFBF472EB}"/>
          </ac:picMkLst>
        </pc:picChg>
        <pc:picChg chg="add del">
          <ac:chgData name="Hiram Fleitas" userId="461d7124ec7a38ad" providerId="LiveId" clId="{C3DF72AE-141A-49D0-83B4-D821F2DB467D}" dt="2019-03-28T20:38:28.059" v="353" actId="478"/>
          <ac:picMkLst>
            <pc:docMk/>
            <pc:sldMk cId="668275305" sldId="611"/>
            <ac:picMk id="5" creationId="{D1884E04-9D2A-4257-80D3-FB26667E8B19}"/>
          </ac:picMkLst>
        </pc:picChg>
        <pc:picChg chg="add del">
          <ac:chgData name="Hiram Fleitas" userId="461d7124ec7a38ad" providerId="LiveId" clId="{C3DF72AE-141A-49D0-83B4-D821F2DB467D}" dt="2019-03-28T20:38:36.625" v="355" actId="478"/>
          <ac:picMkLst>
            <pc:docMk/>
            <pc:sldMk cId="668275305" sldId="611"/>
            <ac:picMk id="6" creationId="{35DBDDD5-1258-4E0D-A17D-0F021BCABCCB}"/>
          </ac:picMkLst>
        </pc:picChg>
        <pc:picChg chg="add del">
          <ac:chgData name="Hiram Fleitas" userId="461d7124ec7a38ad" providerId="LiveId" clId="{C3DF72AE-141A-49D0-83B4-D821F2DB467D}" dt="2019-03-28T20:38:45.917" v="357" actId="478"/>
          <ac:picMkLst>
            <pc:docMk/>
            <pc:sldMk cId="668275305" sldId="611"/>
            <ac:picMk id="7" creationId="{C79F7C92-2C7A-4E71-8A1D-5B5706A8E853}"/>
          </ac:picMkLst>
        </pc:picChg>
        <pc:picChg chg="add">
          <ac:chgData name="Hiram Fleitas" userId="461d7124ec7a38ad" providerId="LiveId" clId="{C3DF72AE-141A-49D0-83B4-D821F2DB467D}" dt="2019-03-28T01:53:56.618" v="256"/>
          <ac:picMkLst>
            <pc:docMk/>
            <pc:sldMk cId="668275305" sldId="611"/>
            <ac:picMk id="12" creationId="{218BADB7-B8D9-4FC5-8808-D11356A04E40}"/>
          </ac:picMkLst>
        </pc:picChg>
        <pc:picChg chg="add del">
          <ac:chgData name="Hiram Fleitas" userId="461d7124ec7a38ad" providerId="LiveId" clId="{C3DF72AE-141A-49D0-83B4-D821F2DB467D}" dt="2019-03-28T20:38:53.406" v="359" actId="478"/>
          <ac:picMkLst>
            <pc:docMk/>
            <pc:sldMk cId="668275305" sldId="611"/>
            <ac:picMk id="13" creationId="{8C0070D3-C3B3-4D0F-A53C-9BFC075D9BE9}"/>
          </ac:picMkLst>
        </pc:picChg>
        <pc:picChg chg="add del">
          <ac:chgData name="Hiram Fleitas" userId="461d7124ec7a38ad" providerId="LiveId" clId="{C3DF72AE-141A-49D0-83B4-D821F2DB467D}" dt="2019-03-28T20:39:04.915" v="361" actId="478"/>
          <ac:picMkLst>
            <pc:docMk/>
            <pc:sldMk cId="668275305" sldId="611"/>
            <ac:picMk id="14" creationId="{835F6772-8732-4069-9CA5-17C49F193E06}"/>
          </ac:picMkLst>
        </pc:picChg>
        <pc:picChg chg="add del">
          <ac:chgData name="Hiram Fleitas" userId="461d7124ec7a38ad" providerId="LiveId" clId="{C3DF72AE-141A-49D0-83B4-D821F2DB467D}" dt="2019-03-28T20:39:14.839" v="363" actId="478"/>
          <ac:picMkLst>
            <pc:docMk/>
            <pc:sldMk cId="668275305" sldId="611"/>
            <ac:picMk id="15" creationId="{F4F56212-D570-4E15-96DC-06B2EE4EB03C}"/>
          </ac:picMkLst>
        </pc:picChg>
        <pc:picChg chg="add del">
          <ac:chgData name="Hiram Fleitas" userId="461d7124ec7a38ad" providerId="LiveId" clId="{C3DF72AE-141A-49D0-83B4-D821F2DB467D}" dt="2019-03-28T20:39:24.503" v="365" actId="478"/>
          <ac:picMkLst>
            <pc:docMk/>
            <pc:sldMk cId="668275305" sldId="611"/>
            <ac:picMk id="16" creationId="{916DA32F-1543-42B5-B0F9-BC90420B07D4}"/>
          </ac:picMkLst>
        </pc:picChg>
        <pc:picChg chg="add ord">
          <ac:chgData name="Hiram Fleitas" userId="461d7124ec7a38ad" providerId="LiveId" clId="{C3DF72AE-141A-49D0-83B4-D821F2DB467D}" dt="2019-03-28T20:40:01.215" v="370" actId="167"/>
          <ac:picMkLst>
            <pc:docMk/>
            <pc:sldMk cId="668275305" sldId="611"/>
            <ac:picMk id="17" creationId="{3DD2CB39-79AD-4CA6-9D04-5C136E5CB69A}"/>
          </ac:picMkLst>
        </pc:picChg>
      </pc:sldChg>
      <pc:sldChg chg="addSp delSp modSp">
        <pc:chgData name="Hiram Fleitas" userId="461d7124ec7a38ad" providerId="LiveId" clId="{C3DF72AE-141A-49D0-83B4-D821F2DB467D}" dt="2019-03-28T20:49:28.403" v="401" actId="14100"/>
        <pc:sldMkLst>
          <pc:docMk/>
          <pc:sldMk cId="3719095227" sldId="612"/>
        </pc:sldMkLst>
        <pc:spChg chg="add mod">
          <ac:chgData name="Hiram Fleitas" userId="461d7124ec7a38ad" providerId="LiveId" clId="{C3DF72AE-141A-49D0-83B4-D821F2DB467D}" dt="2019-03-28T20:49:28.403" v="401" actId="14100"/>
          <ac:spMkLst>
            <pc:docMk/>
            <pc:sldMk cId="3719095227" sldId="612"/>
            <ac:spMk id="12" creationId="{200B08DD-BD3F-4BB6-9F6B-019964B37FE9}"/>
          </ac:spMkLst>
        </pc:spChg>
        <pc:picChg chg="add del ord">
          <ac:chgData name="Hiram Fleitas" userId="461d7124ec7a38ad" providerId="LiveId" clId="{C3DF72AE-141A-49D0-83B4-D821F2DB467D}" dt="2019-03-28T02:04:48.416" v="343" actId="478"/>
          <ac:picMkLst>
            <pc:docMk/>
            <pc:sldMk cId="3719095227" sldId="612"/>
            <ac:picMk id="2" creationId="{C6F23E17-E3C1-4AF3-81C3-AF003C37794B}"/>
          </ac:picMkLst>
        </pc:picChg>
        <pc:picChg chg="del">
          <ac:chgData name="Hiram Fleitas" userId="461d7124ec7a38ad" providerId="LiveId" clId="{C3DF72AE-141A-49D0-83B4-D821F2DB467D}" dt="2019-03-28T02:03:29.685" v="340" actId="478"/>
          <ac:picMkLst>
            <pc:docMk/>
            <pc:sldMk cId="3719095227" sldId="612"/>
            <ac:picMk id="3" creationId="{B3CFBB56-7670-4429-A831-2DB28AD525BA}"/>
          </ac:picMkLst>
        </pc:picChg>
        <pc:picChg chg="add del ord">
          <ac:chgData name="Hiram Fleitas" userId="461d7124ec7a38ad" providerId="LiveId" clId="{C3DF72AE-141A-49D0-83B4-D821F2DB467D}" dt="2019-03-28T20:41:18.380" v="374" actId="478"/>
          <ac:picMkLst>
            <pc:docMk/>
            <pc:sldMk cId="3719095227" sldId="612"/>
            <ac:picMk id="4" creationId="{2B394642-53A7-4308-AF64-965D501D202B}"/>
          </ac:picMkLst>
        </pc:picChg>
        <pc:picChg chg="add ord">
          <ac:chgData name="Hiram Fleitas" userId="461d7124ec7a38ad" providerId="LiveId" clId="{C3DF72AE-141A-49D0-83B4-D821F2DB467D}" dt="2019-03-28T20:41:22.927" v="376" actId="167"/>
          <ac:picMkLst>
            <pc:docMk/>
            <pc:sldMk cId="3719095227" sldId="612"/>
            <ac:picMk id="5" creationId="{414F3D45-1245-4C4D-AEEE-8A556E0087FC}"/>
          </ac:picMkLst>
        </pc:picChg>
      </pc:sldChg>
      <pc:sldChg chg="addSp delSp modSp">
        <pc:chgData name="Hiram Fleitas" userId="461d7124ec7a38ad" providerId="LiveId" clId="{C3DF72AE-141A-49D0-83B4-D821F2DB467D}" dt="2019-03-28T20:50:38.751" v="421" actId="1076"/>
        <pc:sldMkLst>
          <pc:docMk/>
          <pc:sldMk cId="3215023862" sldId="613"/>
        </pc:sldMkLst>
        <pc:spChg chg="add mod">
          <ac:chgData name="Hiram Fleitas" userId="461d7124ec7a38ad" providerId="LiveId" clId="{C3DF72AE-141A-49D0-83B4-D821F2DB467D}" dt="2019-03-28T20:48:58.973" v="395" actId="1036"/>
          <ac:spMkLst>
            <pc:docMk/>
            <pc:sldMk cId="3215023862" sldId="613"/>
            <ac:spMk id="12" creationId="{DE4EFF08-8DA5-44E6-BE82-640418EE1229}"/>
          </ac:spMkLst>
        </pc:spChg>
        <pc:picChg chg="del">
          <ac:chgData name="Hiram Fleitas" userId="461d7124ec7a38ad" providerId="LiveId" clId="{C3DF72AE-141A-49D0-83B4-D821F2DB467D}" dt="2019-03-28T20:45:17.023" v="377" actId="478"/>
          <ac:picMkLst>
            <pc:docMk/>
            <pc:sldMk cId="3215023862" sldId="613"/>
            <ac:picMk id="2" creationId="{2DB90CDB-B859-4C73-89C8-68863E90F28C}"/>
          </ac:picMkLst>
        </pc:picChg>
        <pc:picChg chg="add ord">
          <ac:chgData name="Hiram Fleitas" userId="461d7124ec7a38ad" providerId="LiveId" clId="{C3DF72AE-141A-49D0-83B4-D821F2DB467D}" dt="2019-03-28T20:45:21.460" v="379" actId="167"/>
          <ac:picMkLst>
            <pc:docMk/>
            <pc:sldMk cId="3215023862" sldId="613"/>
            <ac:picMk id="3" creationId="{26B6885C-C1E1-4AD1-A280-57965BF33C8D}"/>
          </ac:picMkLst>
        </pc:picChg>
        <pc:picChg chg="add mod">
          <ac:chgData name="Hiram Fleitas" userId="461d7124ec7a38ad" providerId="LiveId" clId="{C3DF72AE-141A-49D0-83B4-D821F2DB467D}" dt="2019-03-28T20:50:38.751" v="421" actId="1076"/>
          <ac:picMkLst>
            <pc:docMk/>
            <pc:sldMk cId="3215023862" sldId="613"/>
            <ac:picMk id="13" creationId="{002A6FB8-532B-4973-A476-6F3A2DB5C29A}"/>
          </ac:picMkLst>
        </pc:picChg>
        <pc:picChg chg="add mod">
          <ac:chgData name="Hiram Fleitas" userId="461d7124ec7a38ad" providerId="LiveId" clId="{C3DF72AE-141A-49D0-83B4-D821F2DB467D}" dt="2019-03-28T20:50:29.294" v="420" actId="1038"/>
          <ac:picMkLst>
            <pc:docMk/>
            <pc:sldMk cId="3215023862" sldId="613"/>
            <ac:picMk id="14" creationId="{B3F5C4B1-E327-42AB-A845-FF138D45B7F8}"/>
          </ac:picMkLst>
        </pc:picChg>
      </pc:sldChg>
      <pc:sldChg chg="addSp delSp modSp">
        <pc:chgData name="Hiram Fleitas" userId="461d7124ec7a38ad" providerId="LiveId" clId="{C3DF72AE-141A-49D0-83B4-D821F2DB467D}" dt="2019-03-28T20:48:14.724" v="384" actId="167"/>
        <pc:sldMkLst>
          <pc:docMk/>
          <pc:sldMk cId="399840568" sldId="614"/>
        </pc:sldMkLst>
        <pc:spChg chg="del">
          <ac:chgData name="Hiram Fleitas" userId="461d7124ec7a38ad" providerId="LiveId" clId="{C3DF72AE-141A-49D0-83B4-D821F2DB467D}" dt="2019-03-28T20:48:08.959" v="381" actId="478"/>
          <ac:spMkLst>
            <pc:docMk/>
            <pc:sldMk cId="399840568" sldId="614"/>
            <ac:spMk id="13" creationId="{1CE833E6-80ED-439A-81E5-728C216169C7}"/>
          </ac:spMkLst>
        </pc:spChg>
        <pc:spChg chg="del">
          <ac:chgData name="Hiram Fleitas" userId="461d7124ec7a38ad" providerId="LiveId" clId="{C3DF72AE-141A-49D0-83B4-D821F2DB467D}" dt="2019-03-28T20:48:11.068" v="382" actId="478"/>
          <ac:spMkLst>
            <pc:docMk/>
            <pc:sldMk cId="399840568" sldId="614"/>
            <ac:spMk id="14" creationId="{2DD45F95-2458-44D5-8DB7-481031C4BDDB}"/>
          </ac:spMkLst>
        </pc:spChg>
        <pc:picChg chg="del">
          <ac:chgData name="Hiram Fleitas" userId="461d7124ec7a38ad" providerId="LiveId" clId="{C3DF72AE-141A-49D0-83B4-D821F2DB467D}" dt="2019-03-28T20:48:05.646" v="380" actId="478"/>
          <ac:picMkLst>
            <pc:docMk/>
            <pc:sldMk cId="399840568" sldId="614"/>
            <ac:picMk id="2" creationId="{2DB90CDB-B859-4C73-89C8-68863E90F28C}"/>
          </ac:picMkLst>
        </pc:picChg>
        <pc:picChg chg="add ord">
          <ac:chgData name="Hiram Fleitas" userId="461d7124ec7a38ad" providerId="LiveId" clId="{C3DF72AE-141A-49D0-83B4-D821F2DB467D}" dt="2019-03-28T20:48:14.724" v="384" actId="167"/>
          <ac:picMkLst>
            <pc:docMk/>
            <pc:sldMk cId="399840568" sldId="614"/>
            <ac:picMk id="3" creationId="{8FA84D25-6443-402A-8BA0-EF6460FAA3D4}"/>
          </ac:picMkLst>
        </pc:picChg>
      </pc:sldChg>
      <pc:sldChg chg="delSp">
        <pc:chgData name="Hiram Fleitas" userId="461d7124ec7a38ad" providerId="LiveId" clId="{C3DF72AE-141A-49D0-83B4-D821F2DB467D}" dt="2019-03-28T20:58:09.231" v="430" actId="478"/>
        <pc:sldMkLst>
          <pc:docMk/>
          <pc:sldMk cId="3561583775" sldId="616"/>
        </pc:sldMkLst>
        <pc:spChg chg="del">
          <ac:chgData name="Hiram Fleitas" userId="461d7124ec7a38ad" providerId="LiveId" clId="{C3DF72AE-141A-49D0-83B4-D821F2DB467D}" dt="2019-03-28T20:49:10.664" v="396"/>
          <ac:spMkLst>
            <pc:docMk/>
            <pc:sldMk cId="3561583775" sldId="616"/>
            <ac:spMk id="15" creationId="{F7714FF9-D200-4F38-AC8E-D4526C898124}"/>
          </ac:spMkLst>
        </pc:spChg>
        <pc:picChg chg="del">
          <ac:chgData name="Hiram Fleitas" userId="461d7124ec7a38ad" providerId="LiveId" clId="{C3DF72AE-141A-49D0-83B4-D821F2DB467D}" dt="2019-03-28T20:58:09.231" v="430" actId="478"/>
          <ac:picMkLst>
            <pc:docMk/>
            <pc:sldMk cId="3561583775" sldId="616"/>
            <ac:picMk id="3" creationId="{F9768E4A-2E19-44C7-853D-0115289D1F2C}"/>
          </ac:picMkLst>
        </pc:picChg>
      </pc:sldChg>
      <pc:sldChg chg="addSp delSp">
        <pc:chgData name="Hiram Fleitas" userId="461d7124ec7a38ad" providerId="LiveId" clId="{C3DF72AE-141A-49D0-83B4-D821F2DB467D}" dt="2019-03-28T01:51:42.719" v="225"/>
        <pc:sldMkLst>
          <pc:docMk/>
          <pc:sldMk cId="2868298326" sldId="937"/>
        </pc:sldMkLst>
        <pc:grpChg chg="del">
          <ac:chgData name="Hiram Fleitas" userId="461d7124ec7a38ad" providerId="LiveId" clId="{C3DF72AE-141A-49D0-83B4-D821F2DB467D}" dt="2019-03-28T01:51:41.859" v="224" actId="478"/>
          <ac:grpSpMkLst>
            <pc:docMk/>
            <pc:sldMk cId="2868298326" sldId="937"/>
            <ac:grpSpMk id="9" creationId="{FEE8325E-D5D8-4983-A1DA-BCC8CC926D48}"/>
          </ac:grpSpMkLst>
        </pc:grpChg>
        <pc:picChg chg="add">
          <ac:chgData name="Hiram Fleitas" userId="461d7124ec7a38ad" providerId="LiveId" clId="{C3DF72AE-141A-49D0-83B4-D821F2DB467D}" dt="2019-03-28T01:51:42.719" v="225"/>
          <ac:picMkLst>
            <pc:docMk/>
            <pc:sldMk cId="2868298326" sldId="937"/>
            <ac:picMk id="14" creationId="{80A795DB-9961-4775-8663-084729700781}"/>
          </ac:picMkLst>
        </pc:picChg>
      </pc:sldChg>
      <pc:sldChg chg="addSp delSp modSp modAnim">
        <pc:chgData name="Hiram Fleitas" userId="461d7124ec7a38ad" providerId="LiveId" clId="{C3DF72AE-141A-49D0-83B4-D821F2DB467D}" dt="2019-03-28T01:51:48.315" v="227"/>
        <pc:sldMkLst>
          <pc:docMk/>
          <pc:sldMk cId="3157100967" sldId="938"/>
        </pc:sldMkLst>
        <pc:spChg chg="del">
          <ac:chgData name="Hiram Fleitas" userId="461d7124ec7a38ad" providerId="LiveId" clId="{C3DF72AE-141A-49D0-83B4-D821F2DB467D}" dt="2019-03-28T01:34:17.046" v="118" actId="478"/>
          <ac:spMkLst>
            <pc:docMk/>
            <pc:sldMk cId="3157100967" sldId="938"/>
            <ac:spMk id="2" creationId="{755FCDBF-8F98-4817-B6AC-B57EB97960D0}"/>
          </ac:spMkLst>
        </pc:spChg>
        <pc:spChg chg="mod">
          <ac:chgData name="Hiram Fleitas" userId="461d7124ec7a38ad" providerId="LiveId" clId="{C3DF72AE-141A-49D0-83B4-D821F2DB467D}" dt="2019-03-28T01:33:02.575" v="102"/>
          <ac:spMkLst>
            <pc:docMk/>
            <pc:sldMk cId="3157100967" sldId="938"/>
            <ac:spMk id="17" creationId="{659F5FE4-03A0-43BF-912D-32B6E4AC3202}"/>
          </ac:spMkLst>
        </pc:spChg>
        <pc:spChg chg="add mod">
          <ac:chgData name="Hiram Fleitas" userId="461d7124ec7a38ad" providerId="LiveId" clId="{C3DF72AE-141A-49D0-83B4-D821F2DB467D}" dt="2019-03-28T01:34:13.702" v="117" actId="20577"/>
          <ac:spMkLst>
            <pc:docMk/>
            <pc:sldMk cId="3157100967" sldId="938"/>
            <ac:spMk id="19" creationId="{31C17006-162F-49C1-A923-A00E13D5213C}"/>
          </ac:spMkLst>
        </pc:spChg>
        <pc:grpChg chg="del">
          <ac:chgData name="Hiram Fleitas" userId="461d7124ec7a38ad" providerId="LiveId" clId="{C3DF72AE-141A-49D0-83B4-D821F2DB467D}" dt="2019-03-28T01:51:47.469" v="226" actId="478"/>
          <ac:grpSpMkLst>
            <pc:docMk/>
            <pc:sldMk cId="3157100967" sldId="938"/>
            <ac:grpSpMk id="9" creationId="{FEE8325E-D5D8-4983-A1DA-BCC8CC926D48}"/>
          </ac:grpSpMkLst>
        </pc:grpChg>
        <pc:grpChg chg="del">
          <ac:chgData name="Hiram Fleitas" userId="461d7124ec7a38ad" providerId="LiveId" clId="{C3DF72AE-141A-49D0-83B4-D821F2DB467D}" dt="2019-03-28T01:33:08.436" v="103" actId="478"/>
          <ac:grpSpMkLst>
            <pc:docMk/>
            <pc:sldMk cId="3157100967" sldId="938"/>
            <ac:grpSpMk id="14" creationId="{E3473B26-1406-4215-B152-3867DCC2D81A}"/>
          </ac:grpSpMkLst>
        </pc:grpChg>
        <pc:grpChg chg="add">
          <ac:chgData name="Hiram Fleitas" userId="461d7124ec7a38ad" providerId="LiveId" clId="{C3DF72AE-141A-49D0-83B4-D821F2DB467D}" dt="2019-03-28T01:32:36.173" v="101"/>
          <ac:grpSpMkLst>
            <pc:docMk/>
            <pc:sldMk cId="3157100967" sldId="938"/>
            <ac:grpSpMk id="15" creationId="{1D4BB7F8-7C25-41E5-B73D-AD1FE808E3F0}"/>
          </ac:grpSpMkLst>
        </pc:grpChg>
        <pc:picChg chg="add del ord">
          <ac:chgData name="Hiram Fleitas" userId="461d7124ec7a38ad" providerId="LiveId" clId="{C3DF72AE-141A-49D0-83B4-D821F2DB467D}" dt="2019-03-28T01:35:59.536" v="127" actId="478"/>
          <ac:picMkLst>
            <pc:docMk/>
            <pc:sldMk cId="3157100967" sldId="938"/>
            <ac:picMk id="20" creationId="{FB95F9AE-8470-40B9-80C3-7885EDAC9A3F}"/>
          </ac:picMkLst>
        </pc:picChg>
        <pc:picChg chg="add">
          <ac:chgData name="Hiram Fleitas" userId="461d7124ec7a38ad" providerId="LiveId" clId="{C3DF72AE-141A-49D0-83B4-D821F2DB467D}" dt="2019-03-28T01:36:00.583" v="128"/>
          <ac:picMkLst>
            <pc:docMk/>
            <pc:sldMk cId="3157100967" sldId="938"/>
            <ac:picMk id="21" creationId="{A59A6AD4-75BC-4325-A458-9A9BE3722469}"/>
          </ac:picMkLst>
        </pc:picChg>
        <pc:picChg chg="add">
          <ac:chgData name="Hiram Fleitas" userId="461d7124ec7a38ad" providerId="LiveId" clId="{C3DF72AE-141A-49D0-83B4-D821F2DB467D}" dt="2019-03-28T01:51:48.315" v="227"/>
          <ac:picMkLst>
            <pc:docMk/>
            <pc:sldMk cId="3157100967" sldId="938"/>
            <ac:picMk id="22" creationId="{D0217A04-E1E7-4F9D-A711-2CDC28B84B85}"/>
          </ac:picMkLst>
        </pc:picChg>
        <pc:picChg chg="del mod modCrop">
          <ac:chgData name="Hiram Fleitas" userId="461d7124ec7a38ad" providerId="LiveId" clId="{C3DF72AE-141A-49D0-83B4-D821F2DB467D}" dt="2019-03-28T01:35:57.536" v="126"/>
          <ac:picMkLst>
            <pc:docMk/>
            <pc:sldMk cId="3157100967" sldId="938"/>
            <ac:picMk id="10242" creationId="{C593D503-E5DE-47CE-A460-46E6B004F771}"/>
          </ac:picMkLst>
        </pc:picChg>
      </pc:sldChg>
      <pc:sldChg chg="addSp delSp">
        <pc:chgData name="Hiram Fleitas" userId="461d7124ec7a38ad" providerId="LiveId" clId="{C3DF72AE-141A-49D0-83B4-D821F2DB467D}" dt="2019-03-28T01:52:45.538" v="240"/>
        <pc:sldMkLst>
          <pc:docMk/>
          <pc:sldMk cId="2132952452" sldId="941"/>
        </pc:sldMkLst>
        <pc:grpChg chg="del">
          <ac:chgData name="Hiram Fleitas" userId="461d7124ec7a38ad" providerId="LiveId" clId="{C3DF72AE-141A-49D0-83B4-D821F2DB467D}" dt="2019-03-28T01:52:44.429" v="239" actId="478"/>
          <ac:grpSpMkLst>
            <pc:docMk/>
            <pc:sldMk cId="2132952452" sldId="941"/>
            <ac:grpSpMk id="9" creationId="{FEE8325E-D5D8-4983-A1DA-BCC8CC926D48}"/>
          </ac:grpSpMkLst>
        </pc:grpChg>
        <pc:picChg chg="add">
          <ac:chgData name="Hiram Fleitas" userId="461d7124ec7a38ad" providerId="LiveId" clId="{C3DF72AE-141A-49D0-83B4-D821F2DB467D}" dt="2019-03-28T01:52:45.538" v="240"/>
          <ac:picMkLst>
            <pc:docMk/>
            <pc:sldMk cId="2132952452" sldId="941"/>
            <ac:picMk id="13" creationId="{A03092E1-B5EA-4DFF-9459-CB9DE4FD5B7F}"/>
          </ac:picMkLst>
        </pc:picChg>
      </pc:sldChg>
      <pc:sldChg chg="addSp delSp">
        <pc:chgData name="Hiram Fleitas" userId="461d7124ec7a38ad" providerId="LiveId" clId="{C3DF72AE-141A-49D0-83B4-D821F2DB467D}" dt="2019-03-28T01:52:56.585" v="242"/>
        <pc:sldMkLst>
          <pc:docMk/>
          <pc:sldMk cId="422149466" sldId="942"/>
        </pc:sldMkLst>
        <pc:grpChg chg="del">
          <ac:chgData name="Hiram Fleitas" userId="461d7124ec7a38ad" providerId="LiveId" clId="{C3DF72AE-141A-49D0-83B4-D821F2DB467D}" dt="2019-03-28T01:52:54.663" v="241" actId="478"/>
          <ac:grpSpMkLst>
            <pc:docMk/>
            <pc:sldMk cId="422149466" sldId="942"/>
            <ac:grpSpMk id="9" creationId="{FEE8325E-D5D8-4983-A1DA-BCC8CC926D48}"/>
          </ac:grpSpMkLst>
        </pc:grpChg>
        <pc:picChg chg="add">
          <ac:chgData name="Hiram Fleitas" userId="461d7124ec7a38ad" providerId="LiveId" clId="{C3DF72AE-141A-49D0-83B4-D821F2DB467D}" dt="2019-03-28T01:52:56.585" v="242"/>
          <ac:picMkLst>
            <pc:docMk/>
            <pc:sldMk cId="422149466" sldId="942"/>
            <ac:picMk id="13" creationId="{AB797AD6-7507-49EA-8B6D-F8DD6B134F8A}"/>
          </ac:picMkLst>
        </pc:picChg>
      </pc:sldChg>
      <pc:sldChg chg="addSp delSp">
        <pc:chgData name="Hiram Fleitas" userId="461d7124ec7a38ad" providerId="LiveId" clId="{C3DF72AE-141A-49D0-83B4-D821F2DB467D}" dt="2019-03-28T01:53:03.366" v="244"/>
        <pc:sldMkLst>
          <pc:docMk/>
          <pc:sldMk cId="3660474804" sldId="943"/>
        </pc:sldMkLst>
        <pc:grpChg chg="del">
          <ac:chgData name="Hiram Fleitas" userId="461d7124ec7a38ad" providerId="LiveId" clId="{C3DF72AE-141A-49D0-83B4-D821F2DB467D}" dt="2019-03-28T01:53:02.835" v="243" actId="478"/>
          <ac:grpSpMkLst>
            <pc:docMk/>
            <pc:sldMk cId="3660474804" sldId="943"/>
            <ac:grpSpMk id="9" creationId="{FEE8325E-D5D8-4983-A1DA-BCC8CC926D48}"/>
          </ac:grpSpMkLst>
        </pc:grpChg>
        <pc:picChg chg="add">
          <ac:chgData name="Hiram Fleitas" userId="461d7124ec7a38ad" providerId="LiveId" clId="{C3DF72AE-141A-49D0-83B4-D821F2DB467D}" dt="2019-03-28T01:53:03.366" v="244"/>
          <ac:picMkLst>
            <pc:docMk/>
            <pc:sldMk cId="3660474804" sldId="943"/>
            <ac:picMk id="13" creationId="{D0EC1CCB-FFEF-4D55-957F-8DE4AAD9F53A}"/>
          </ac:picMkLst>
        </pc:picChg>
      </pc:sldChg>
      <pc:sldChg chg="addSp delSp">
        <pc:chgData name="Hiram Fleitas" userId="461d7124ec7a38ad" providerId="LiveId" clId="{C3DF72AE-141A-49D0-83B4-D821F2DB467D}" dt="2019-03-28T01:53:12.288" v="246"/>
        <pc:sldMkLst>
          <pc:docMk/>
          <pc:sldMk cId="2855375308" sldId="944"/>
        </pc:sldMkLst>
        <pc:grpChg chg="del">
          <ac:chgData name="Hiram Fleitas" userId="461d7124ec7a38ad" providerId="LiveId" clId="{C3DF72AE-141A-49D0-83B4-D821F2DB467D}" dt="2019-03-28T01:53:11.288" v="245" actId="478"/>
          <ac:grpSpMkLst>
            <pc:docMk/>
            <pc:sldMk cId="2855375308" sldId="944"/>
            <ac:grpSpMk id="9" creationId="{FEE8325E-D5D8-4983-A1DA-BCC8CC926D48}"/>
          </ac:grpSpMkLst>
        </pc:grpChg>
        <pc:picChg chg="add">
          <ac:chgData name="Hiram Fleitas" userId="461d7124ec7a38ad" providerId="LiveId" clId="{C3DF72AE-141A-49D0-83B4-D821F2DB467D}" dt="2019-03-28T01:53:12.288" v="246"/>
          <ac:picMkLst>
            <pc:docMk/>
            <pc:sldMk cId="2855375308" sldId="944"/>
            <ac:picMk id="13" creationId="{23B1BFF6-BB8E-414B-9440-C156C06AEAD9}"/>
          </ac:picMkLst>
        </pc:picChg>
      </pc:sldChg>
      <pc:sldChg chg="addSp delSp">
        <pc:chgData name="Hiram Fleitas" userId="461d7124ec7a38ad" providerId="LiveId" clId="{C3DF72AE-141A-49D0-83B4-D821F2DB467D}" dt="2019-03-28T01:53:24.708" v="248"/>
        <pc:sldMkLst>
          <pc:docMk/>
          <pc:sldMk cId="1628316798" sldId="945"/>
        </pc:sldMkLst>
        <pc:grpChg chg="del">
          <ac:chgData name="Hiram Fleitas" userId="461d7124ec7a38ad" providerId="LiveId" clId="{C3DF72AE-141A-49D0-83B4-D821F2DB467D}" dt="2019-03-28T01:53:23.473" v="247" actId="478"/>
          <ac:grpSpMkLst>
            <pc:docMk/>
            <pc:sldMk cId="1628316798" sldId="945"/>
            <ac:grpSpMk id="9" creationId="{FEE8325E-D5D8-4983-A1DA-BCC8CC926D48}"/>
          </ac:grpSpMkLst>
        </pc:grpChg>
        <pc:picChg chg="add">
          <ac:chgData name="Hiram Fleitas" userId="461d7124ec7a38ad" providerId="LiveId" clId="{C3DF72AE-141A-49D0-83B4-D821F2DB467D}" dt="2019-03-28T01:53:24.708" v="248"/>
          <ac:picMkLst>
            <pc:docMk/>
            <pc:sldMk cId="1628316798" sldId="945"/>
            <ac:picMk id="13" creationId="{503EDCF5-97B5-4315-8DA8-BCF49560C9A7}"/>
          </ac:picMkLst>
        </pc:picChg>
      </pc:sldChg>
      <pc:sldChg chg="addSp delSp">
        <pc:chgData name="Hiram Fleitas" userId="461d7124ec7a38ad" providerId="LiveId" clId="{C3DF72AE-141A-49D0-83B4-D821F2DB467D}" dt="2019-03-28T01:53:31.399" v="250"/>
        <pc:sldMkLst>
          <pc:docMk/>
          <pc:sldMk cId="2213798299" sldId="946"/>
        </pc:sldMkLst>
        <pc:grpChg chg="del">
          <ac:chgData name="Hiram Fleitas" userId="461d7124ec7a38ad" providerId="LiveId" clId="{C3DF72AE-141A-49D0-83B4-D821F2DB467D}" dt="2019-03-28T01:53:30.742" v="249" actId="478"/>
          <ac:grpSpMkLst>
            <pc:docMk/>
            <pc:sldMk cId="2213798299" sldId="946"/>
            <ac:grpSpMk id="9" creationId="{FEE8325E-D5D8-4983-A1DA-BCC8CC926D48}"/>
          </ac:grpSpMkLst>
        </pc:grpChg>
        <pc:picChg chg="add">
          <ac:chgData name="Hiram Fleitas" userId="461d7124ec7a38ad" providerId="LiveId" clId="{C3DF72AE-141A-49D0-83B4-D821F2DB467D}" dt="2019-03-28T01:53:31.399" v="250"/>
          <ac:picMkLst>
            <pc:docMk/>
            <pc:sldMk cId="2213798299" sldId="946"/>
            <ac:picMk id="13" creationId="{8D17FD36-D7C1-49E6-BAD4-714A0601BC85}"/>
          </ac:picMkLst>
        </pc:picChg>
      </pc:sldChg>
      <pc:sldChg chg="addSp delSp modSp modAnim">
        <pc:chgData name="Hiram Fleitas" userId="461d7124ec7a38ad" providerId="LiveId" clId="{C3DF72AE-141A-49D0-83B4-D821F2DB467D}" dt="2019-03-28T01:51:56.690" v="229"/>
        <pc:sldMkLst>
          <pc:docMk/>
          <pc:sldMk cId="2489766288" sldId="947"/>
        </pc:sldMkLst>
        <pc:grpChg chg="del">
          <ac:chgData name="Hiram Fleitas" userId="461d7124ec7a38ad" providerId="LiveId" clId="{C3DF72AE-141A-49D0-83B4-D821F2DB467D}" dt="2019-03-28T01:51:55.284" v="228" actId="478"/>
          <ac:grpSpMkLst>
            <pc:docMk/>
            <pc:sldMk cId="2489766288" sldId="947"/>
            <ac:grpSpMk id="9" creationId="{FEE8325E-D5D8-4983-A1DA-BCC8CC926D48}"/>
          </ac:grpSpMkLst>
        </pc:grpChg>
        <pc:picChg chg="add del mod">
          <ac:chgData name="Hiram Fleitas" userId="461d7124ec7a38ad" providerId="LiveId" clId="{C3DF72AE-141A-49D0-83B4-D821F2DB467D}" dt="2019-03-28T01:31:53.670" v="99"/>
          <ac:picMkLst>
            <pc:docMk/>
            <pc:sldMk cId="2489766288" sldId="947"/>
            <ac:picMk id="15" creationId="{EECBCE44-60E6-412F-B022-B8B137F20BCC}"/>
          </ac:picMkLst>
        </pc:picChg>
        <pc:picChg chg="add del">
          <ac:chgData name="Hiram Fleitas" userId="461d7124ec7a38ad" providerId="LiveId" clId="{C3DF72AE-141A-49D0-83B4-D821F2DB467D}" dt="2019-03-28T01:22:56.504" v="55"/>
          <ac:picMkLst>
            <pc:docMk/>
            <pc:sldMk cId="2489766288" sldId="947"/>
            <ac:picMk id="17" creationId="{CB7E0BAB-C6A1-47D5-84AD-CED0ED88172B}"/>
          </ac:picMkLst>
        </pc:picChg>
        <pc:picChg chg="add">
          <ac:chgData name="Hiram Fleitas" userId="461d7124ec7a38ad" providerId="LiveId" clId="{C3DF72AE-141A-49D0-83B4-D821F2DB467D}" dt="2019-03-28T01:51:56.690" v="229"/>
          <ac:picMkLst>
            <pc:docMk/>
            <pc:sldMk cId="2489766288" sldId="947"/>
            <ac:picMk id="19" creationId="{1752F875-612A-4505-BEE4-E95B926616B8}"/>
          </ac:picMkLst>
        </pc:picChg>
      </pc:sldChg>
      <pc:sldChg chg="addSp delSp modSp add modNotesTx">
        <pc:chgData name="Hiram Fleitas" userId="461d7124ec7a38ad" providerId="LiveId" clId="{C3DF72AE-141A-49D0-83B4-D821F2DB467D}" dt="2019-03-28T20:41:03.766" v="373" actId="167"/>
        <pc:sldMkLst>
          <pc:docMk/>
          <pc:sldMk cId="1682049604" sldId="948"/>
        </pc:sldMkLst>
        <pc:picChg chg="add del ord">
          <ac:chgData name="Hiram Fleitas" userId="461d7124ec7a38ad" providerId="LiveId" clId="{C3DF72AE-141A-49D0-83B4-D821F2DB467D}" dt="2019-03-28T20:40:59.885" v="371" actId="478"/>
          <ac:picMkLst>
            <pc:docMk/>
            <pc:sldMk cId="1682049604" sldId="948"/>
            <ac:picMk id="2" creationId="{987FF40B-41B5-46C1-ABA9-A3899D45722A}"/>
          </ac:picMkLst>
        </pc:picChg>
        <pc:picChg chg="del">
          <ac:chgData name="Hiram Fleitas" userId="461d7124ec7a38ad" providerId="LiveId" clId="{C3DF72AE-141A-49D0-83B4-D821F2DB467D}" dt="2019-03-28T01:54:12.315" v="258" actId="478"/>
          <ac:picMkLst>
            <pc:docMk/>
            <pc:sldMk cId="1682049604" sldId="948"/>
            <ac:picMk id="3" creationId="{1581E792-F1A3-46A2-AD1E-050D65452EE3}"/>
          </ac:picMkLst>
        </pc:picChg>
        <pc:picChg chg="add ord">
          <ac:chgData name="Hiram Fleitas" userId="461d7124ec7a38ad" providerId="LiveId" clId="{C3DF72AE-141A-49D0-83B4-D821F2DB467D}" dt="2019-03-28T20:41:03.766" v="373" actId="167"/>
          <ac:picMkLst>
            <pc:docMk/>
            <pc:sldMk cId="1682049604" sldId="948"/>
            <ac:picMk id="4" creationId="{8EDF83E0-15AC-4EB0-A1E1-DAE80EF02BFB}"/>
          </ac:picMkLst>
        </pc:picChg>
      </pc:sldChg>
    </pc:docChg>
  </pc:docChgLst>
  <pc:docChgLst>
    <pc:chgData name="Hiram Fleitas" userId="461d7124ec7a38ad" providerId="LiveId" clId="{3663DC05-B761-4AF0-89BB-24376A01088A}"/>
    <pc:docChg chg="undo custSel addSld delSld modSld modSection">
      <pc:chgData name="Hiram Fleitas" userId="461d7124ec7a38ad" providerId="LiveId" clId="{3663DC05-B761-4AF0-89BB-24376A01088A}" dt="2019-04-24T13:27:53.373" v="509" actId="20577"/>
      <pc:docMkLst>
        <pc:docMk/>
      </pc:docMkLst>
      <pc:sldChg chg="addSp delSp">
        <pc:chgData name="Hiram Fleitas" userId="461d7124ec7a38ad" providerId="LiveId" clId="{3663DC05-B761-4AF0-89BB-24376A01088A}" dt="2019-04-24T00:30:32.860" v="212"/>
        <pc:sldMkLst>
          <pc:docMk/>
          <pc:sldMk cId="3759792378" sldId="257"/>
        </pc:sldMkLst>
        <pc:grpChg chg="add del">
          <ac:chgData name="Hiram Fleitas" userId="461d7124ec7a38ad" providerId="LiveId" clId="{3663DC05-B761-4AF0-89BB-24376A01088A}" dt="2019-04-24T00:30:32.433" v="211" actId="478"/>
          <ac:grpSpMkLst>
            <pc:docMk/>
            <pc:sldMk cId="3759792378" sldId="257"/>
            <ac:grpSpMk id="6" creationId="{D33DDA71-316A-4148-A47A-F595BB867721}"/>
          </ac:grpSpMkLst>
        </pc:grpChg>
        <pc:grpChg chg="add">
          <ac:chgData name="Hiram Fleitas" userId="461d7124ec7a38ad" providerId="LiveId" clId="{3663DC05-B761-4AF0-89BB-24376A01088A}" dt="2019-04-24T00:30:32.860" v="212"/>
          <ac:grpSpMkLst>
            <pc:docMk/>
            <pc:sldMk cId="3759792378" sldId="257"/>
            <ac:grpSpMk id="12" creationId="{BBEB2D37-1CDD-48FE-9405-D203D39C73BC}"/>
          </ac:grpSpMkLst>
        </pc:grpChg>
        <pc:picChg chg="del">
          <ac:chgData name="Hiram Fleitas" userId="461d7124ec7a38ad" providerId="LiveId" clId="{3663DC05-B761-4AF0-89BB-24376A01088A}" dt="2019-04-24T00:24:24.570" v="111" actId="478"/>
          <ac:picMkLst>
            <pc:docMk/>
            <pc:sldMk cId="3759792378" sldId="257"/>
            <ac:picMk id="10" creationId="{31EB8DEF-485B-46B9-980B-4C5EE6E7B7AD}"/>
          </ac:picMkLst>
        </pc:picChg>
      </pc:sldChg>
      <pc:sldChg chg="addSp delSp">
        <pc:chgData name="Hiram Fleitas" userId="461d7124ec7a38ad" providerId="LiveId" clId="{3663DC05-B761-4AF0-89BB-24376A01088A}" dt="2019-04-24T00:30:27.723" v="210"/>
        <pc:sldMkLst>
          <pc:docMk/>
          <pc:sldMk cId="1723390988" sldId="258"/>
        </pc:sldMkLst>
        <pc:grpChg chg="add del">
          <ac:chgData name="Hiram Fleitas" userId="461d7124ec7a38ad" providerId="LiveId" clId="{3663DC05-B761-4AF0-89BB-24376A01088A}" dt="2019-04-24T00:30:27.361" v="209" actId="478"/>
          <ac:grpSpMkLst>
            <pc:docMk/>
            <pc:sldMk cId="1723390988" sldId="258"/>
            <ac:grpSpMk id="5" creationId="{B04B5D0E-7AEC-458B-BB29-B30633CCE0DB}"/>
          </ac:grpSpMkLst>
        </pc:grpChg>
        <pc:grpChg chg="add">
          <ac:chgData name="Hiram Fleitas" userId="461d7124ec7a38ad" providerId="LiveId" clId="{3663DC05-B761-4AF0-89BB-24376A01088A}" dt="2019-04-24T00:30:27.723" v="210"/>
          <ac:grpSpMkLst>
            <pc:docMk/>
            <pc:sldMk cId="1723390988" sldId="258"/>
            <ac:grpSpMk id="10" creationId="{B325BCFE-2AC1-405E-B1A6-922638727922}"/>
          </ac:grpSpMkLst>
        </pc:grpChg>
        <pc:picChg chg="del">
          <ac:chgData name="Hiram Fleitas" userId="461d7124ec7a38ad" providerId="LiveId" clId="{3663DC05-B761-4AF0-89BB-24376A01088A}" dt="2019-04-24T00:24:31.995" v="114" actId="478"/>
          <ac:picMkLst>
            <pc:docMk/>
            <pc:sldMk cId="1723390988" sldId="258"/>
            <ac:picMk id="7" creationId="{7EB97DA7-BC37-4D22-B915-64832752BE05}"/>
          </ac:picMkLst>
        </pc:picChg>
      </pc:sldChg>
      <pc:sldChg chg="addSp delSp">
        <pc:chgData name="Hiram Fleitas" userId="461d7124ec7a38ad" providerId="LiveId" clId="{3663DC05-B761-4AF0-89BB-24376A01088A}" dt="2019-04-24T00:30:11.859" v="204"/>
        <pc:sldMkLst>
          <pc:docMk/>
          <pc:sldMk cId="2111787185" sldId="261"/>
        </pc:sldMkLst>
        <pc:grpChg chg="add del">
          <ac:chgData name="Hiram Fleitas" userId="461d7124ec7a38ad" providerId="LiveId" clId="{3663DC05-B761-4AF0-89BB-24376A01088A}" dt="2019-04-24T00:30:11.385" v="203" actId="478"/>
          <ac:grpSpMkLst>
            <pc:docMk/>
            <pc:sldMk cId="2111787185" sldId="261"/>
            <ac:grpSpMk id="44" creationId="{C0DEFE63-1D6E-4B49-89C4-F67A3BB5C509}"/>
          </ac:grpSpMkLst>
        </pc:grpChg>
        <pc:grpChg chg="add">
          <ac:chgData name="Hiram Fleitas" userId="461d7124ec7a38ad" providerId="LiveId" clId="{3663DC05-B761-4AF0-89BB-24376A01088A}" dt="2019-04-24T00:30:11.859" v="204"/>
          <ac:grpSpMkLst>
            <pc:docMk/>
            <pc:sldMk cId="2111787185" sldId="261"/>
            <ac:grpSpMk id="82" creationId="{1E305D63-6F96-40D2-8239-F429425A9FA8}"/>
          </ac:grpSpMkLst>
        </pc:grpChg>
        <pc:picChg chg="del">
          <ac:chgData name="Hiram Fleitas" userId="461d7124ec7a38ad" providerId="LiveId" clId="{3663DC05-B761-4AF0-89BB-24376A01088A}" dt="2019-04-24T00:24:49.013" v="120" actId="478"/>
          <ac:picMkLst>
            <pc:docMk/>
            <pc:sldMk cId="2111787185" sldId="261"/>
            <ac:picMk id="46" creationId="{AE8A0B9C-D01E-4237-8C7C-7F8BAF722E10}"/>
          </ac:picMkLst>
        </pc:picChg>
      </pc:sldChg>
      <pc:sldChg chg="del">
        <pc:chgData name="Hiram Fleitas" userId="461d7124ec7a38ad" providerId="LiveId" clId="{3663DC05-B761-4AF0-89BB-24376A01088A}" dt="2019-04-24T01:48:56.391" v="505" actId="2696"/>
        <pc:sldMkLst>
          <pc:docMk/>
          <pc:sldMk cId="393149696" sldId="306"/>
        </pc:sldMkLst>
      </pc:sldChg>
      <pc:sldChg chg="addSp delSp modSp modNotesTx">
        <pc:chgData name="Hiram Fleitas" userId="461d7124ec7a38ad" providerId="LiveId" clId="{3663DC05-B761-4AF0-89BB-24376A01088A}" dt="2019-04-24T00:30:38.023" v="214"/>
        <pc:sldMkLst>
          <pc:docMk/>
          <pc:sldMk cId="3363124758" sldId="307"/>
        </pc:sldMkLst>
        <pc:grpChg chg="add del">
          <ac:chgData name="Hiram Fleitas" userId="461d7124ec7a38ad" providerId="LiveId" clId="{3663DC05-B761-4AF0-89BB-24376A01088A}" dt="2019-04-24T00:30:37.176" v="213" actId="478"/>
          <ac:grpSpMkLst>
            <pc:docMk/>
            <pc:sldMk cId="3363124758" sldId="307"/>
            <ac:grpSpMk id="5" creationId="{EDCF1F8C-028E-44B8-8F9B-D4812E0AA3E2}"/>
          </ac:grpSpMkLst>
        </pc:grpChg>
        <pc:grpChg chg="add">
          <ac:chgData name="Hiram Fleitas" userId="461d7124ec7a38ad" providerId="LiveId" clId="{3663DC05-B761-4AF0-89BB-24376A01088A}" dt="2019-04-24T00:30:38.023" v="214"/>
          <ac:grpSpMkLst>
            <pc:docMk/>
            <pc:sldMk cId="3363124758" sldId="307"/>
            <ac:grpSpMk id="8" creationId="{C00C2F1F-70DF-4A55-B6B4-D036F7138A2B}"/>
          </ac:grpSpMkLst>
        </pc:grpChg>
        <pc:picChg chg="mod">
          <ac:chgData name="Hiram Fleitas" userId="461d7124ec7a38ad" providerId="LiveId" clId="{3663DC05-B761-4AF0-89BB-24376A01088A}" dt="2019-04-24T00:24:12.975" v="110"/>
          <ac:picMkLst>
            <pc:docMk/>
            <pc:sldMk cId="3363124758" sldId="307"/>
            <ac:picMk id="6" creationId="{057ACC6C-0838-41A5-A9E8-CDA687541B61}"/>
          </ac:picMkLst>
        </pc:picChg>
        <pc:picChg chg="mod">
          <ac:chgData name="Hiram Fleitas" userId="461d7124ec7a38ad" providerId="LiveId" clId="{3663DC05-B761-4AF0-89BB-24376A01088A}" dt="2019-04-24T00:24:07.247" v="109"/>
          <ac:picMkLst>
            <pc:docMk/>
            <pc:sldMk cId="3363124758" sldId="307"/>
            <ac:picMk id="7" creationId="{E42B96BC-9F6A-42CD-868C-41EBDF04DE2F}"/>
          </ac:picMkLst>
        </pc:picChg>
        <pc:picChg chg="del">
          <ac:chgData name="Hiram Fleitas" userId="461d7124ec7a38ad" providerId="LiveId" clId="{3663DC05-B761-4AF0-89BB-24376A01088A}" dt="2019-04-24T00:23:07.105" v="107" actId="478"/>
          <ac:picMkLst>
            <pc:docMk/>
            <pc:sldMk cId="3363124758" sldId="307"/>
            <ac:picMk id="9" creationId="{480FA06C-1C54-4B84-847D-5962A1DFBB21}"/>
          </ac:picMkLst>
        </pc:picChg>
      </pc:sldChg>
      <pc:sldChg chg="addSp delSp">
        <pc:chgData name="Hiram Fleitas" userId="461d7124ec7a38ad" providerId="LiveId" clId="{3663DC05-B761-4AF0-89BB-24376A01088A}" dt="2019-04-24T00:29:05.776" v="186"/>
        <pc:sldMkLst>
          <pc:docMk/>
          <pc:sldMk cId="1969843946" sldId="324"/>
        </pc:sldMkLst>
        <pc:grpChg chg="add del">
          <ac:chgData name="Hiram Fleitas" userId="461d7124ec7a38ad" providerId="LiveId" clId="{3663DC05-B761-4AF0-89BB-24376A01088A}" dt="2019-04-24T00:29:05.455" v="185" actId="478"/>
          <ac:grpSpMkLst>
            <pc:docMk/>
            <pc:sldMk cId="1969843946" sldId="324"/>
            <ac:grpSpMk id="8" creationId="{27EF3806-49BC-49B5-8887-EA7BE9A9E504}"/>
          </ac:grpSpMkLst>
        </pc:grpChg>
        <pc:grpChg chg="add">
          <ac:chgData name="Hiram Fleitas" userId="461d7124ec7a38ad" providerId="LiveId" clId="{3663DC05-B761-4AF0-89BB-24376A01088A}" dt="2019-04-24T00:29:05.776" v="186"/>
          <ac:grpSpMkLst>
            <pc:docMk/>
            <pc:sldMk cId="1969843946" sldId="324"/>
            <ac:grpSpMk id="12" creationId="{DD06DBEC-6B4A-4CCC-B182-E1FA77D4F56F}"/>
          </ac:grpSpMkLst>
        </pc:grpChg>
        <pc:picChg chg="del">
          <ac:chgData name="Hiram Fleitas" userId="461d7124ec7a38ad" providerId="LiveId" clId="{3663DC05-B761-4AF0-89BB-24376A01088A}" dt="2019-04-24T00:25:45.835" v="137" actId="478"/>
          <ac:picMkLst>
            <pc:docMk/>
            <pc:sldMk cId="1969843946" sldId="324"/>
            <ac:picMk id="10" creationId="{30823A3C-FED5-4F46-9A6F-04B450AFF452}"/>
          </ac:picMkLst>
        </pc:picChg>
      </pc:sldChg>
      <pc:sldChg chg="addSp delSp">
        <pc:chgData name="Hiram Fleitas" userId="461d7124ec7a38ad" providerId="LiveId" clId="{3663DC05-B761-4AF0-89BB-24376A01088A}" dt="2019-04-24T00:29:18.608" v="190"/>
        <pc:sldMkLst>
          <pc:docMk/>
          <pc:sldMk cId="1761106601" sldId="327"/>
        </pc:sldMkLst>
        <pc:grpChg chg="add del">
          <ac:chgData name="Hiram Fleitas" userId="461d7124ec7a38ad" providerId="LiveId" clId="{3663DC05-B761-4AF0-89BB-24376A01088A}" dt="2019-04-24T00:29:18.156" v="189" actId="478"/>
          <ac:grpSpMkLst>
            <pc:docMk/>
            <pc:sldMk cId="1761106601" sldId="327"/>
            <ac:grpSpMk id="11" creationId="{7C5CD411-D993-4DB6-BBCE-42DDECE659C6}"/>
          </ac:grpSpMkLst>
        </pc:grpChg>
        <pc:grpChg chg="add">
          <ac:chgData name="Hiram Fleitas" userId="461d7124ec7a38ad" providerId="LiveId" clId="{3663DC05-B761-4AF0-89BB-24376A01088A}" dt="2019-04-24T00:29:18.608" v="190"/>
          <ac:grpSpMkLst>
            <pc:docMk/>
            <pc:sldMk cId="1761106601" sldId="327"/>
            <ac:grpSpMk id="14" creationId="{79E960C6-EC06-4179-9DFE-F884A2582999}"/>
          </ac:grpSpMkLst>
        </pc:grpChg>
        <pc:picChg chg="del">
          <ac:chgData name="Hiram Fleitas" userId="461d7124ec7a38ad" providerId="LiveId" clId="{3663DC05-B761-4AF0-89BB-24376A01088A}" dt="2019-04-24T00:25:35.090" v="134" actId="478"/>
          <ac:picMkLst>
            <pc:docMk/>
            <pc:sldMk cId="1761106601" sldId="327"/>
            <ac:picMk id="26" creationId="{D2687F50-6C20-4512-AA04-4D5577E9C746}"/>
          </ac:picMkLst>
        </pc:picChg>
      </pc:sldChg>
      <pc:sldChg chg="addSp delSp">
        <pc:chgData name="Hiram Fleitas" userId="461d7124ec7a38ad" providerId="LiveId" clId="{3663DC05-B761-4AF0-89BB-24376A01088A}" dt="2019-04-24T00:29:10.017" v="188"/>
        <pc:sldMkLst>
          <pc:docMk/>
          <pc:sldMk cId="3755768089" sldId="332"/>
        </pc:sldMkLst>
        <pc:grpChg chg="add del">
          <ac:chgData name="Hiram Fleitas" userId="461d7124ec7a38ad" providerId="LiveId" clId="{3663DC05-B761-4AF0-89BB-24376A01088A}" dt="2019-04-24T00:29:09.726" v="187" actId="478"/>
          <ac:grpSpMkLst>
            <pc:docMk/>
            <pc:sldMk cId="3755768089" sldId="332"/>
            <ac:grpSpMk id="22" creationId="{C37BA5CF-6A8D-476F-8471-6A4C3A93FBF5}"/>
          </ac:grpSpMkLst>
        </pc:grpChg>
        <pc:grpChg chg="add">
          <ac:chgData name="Hiram Fleitas" userId="461d7124ec7a38ad" providerId="LiveId" clId="{3663DC05-B761-4AF0-89BB-24376A01088A}" dt="2019-04-24T00:29:10.017" v="188"/>
          <ac:grpSpMkLst>
            <pc:docMk/>
            <pc:sldMk cId="3755768089" sldId="332"/>
            <ac:grpSpMk id="25" creationId="{2B567160-3ED0-4ED9-A438-77F174B02EAE}"/>
          </ac:grpSpMkLst>
        </pc:grpChg>
      </pc:sldChg>
      <pc:sldChg chg="addSp delSp modSp">
        <pc:chgData name="Hiram Fleitas" userId="461d7124ec7a38ad" providerId="LiveId" clId="{3663DC05-B761-4AF0-89BB-24376A01088A}" dt="2019-04-24T00:30:22.867" v="208"/>
        <pc:sldMkLst>
          <pc:docMk/>
          <pc:sldMk cId="3550446227" sldId="370"/>
        </pc:sldMkLst>
        <pc:grpChg chg="add del">
          <ac:chgData name="Hiram Fleitas" userId="461d7124ec7a38ad" providerId="LiveId" clId="{3663DC05-B761-4AF0-89BB-24376A01088A}" dt="2019-04-24T00:30:22.513" v="207" actId="478"/>
          <ac:grpSpMkLst>
            <pc:docMk/>
            <pc:sldMk cId="3550446227" sldId="370"/>
            <ac:grpSpMk id="14" creationId="{A9B9E510-5A4F-46AF-8D7D-C9A93C5BB631}"/>
          </ac:grpSpMkLst>
        </pc:grpChg>
        <pc:grpChg chg="add">
          <ac:chgData name="Hiram Fleitas" userId="461d7124ec7a38ad" providerId="LiveId" clId="{3663DC05-B761-4AF0-89BB-24376A01088A}" dt="2019-04-24T00:30:22.867" v="208"/>
          <ac:grpSpMkLst>
            <pc:docMk/>
            <pc:sldMk cId="3550446227" sldId="370"/>
            <ac:grpSpMk id="20" creationId="{D21F363E-2159-4E8C-A35E-D816AB445345}"/>
          </ac:grpSpMkLst>
        </pc:grpChg>
        <pc:picChg chg="add del ord">
          <ac:chgData name="Hiram Fleitas" userId="461d7124ec7a38ad" providerId="LiveId" clId="{3663DC05-B761-4AF0-89BB-24376A01088A}" dt="2019-04-24T00:11:52.479" v="51"/>
          <ac:picMkLst>
            <pc:docMk/>
            <pc:sldMk cId="3550446227" sldId="370"/>
            <ac:picMk id="2" creationId="{120DD5EE-98CE-47F4-B0D7-63B639B1D13C}"/>
          </ac:picMkLst>
        </pc:picChg>
        <pc:picChg chg="add del">
          <ac:chgData name="Hiram Fleitas" userId="461d7124ec7a38ad" providerId="LiveId" clId="{3663DC05-B761-4AF0-89BB-24376A01088A}" dt="2019-04-24T00:11:53.463" v="52" actId="478"/>
          <ac:picMkLst>
            <pc:docMk/>
            <pc:sldMk cId="3550446227" sldId="370"/>
            <ac:picMk id="3" creationId="{B436C35D-D0BD-438A-AC31-A77278AB1E97}"/>
          </ac:picMkLst>
        </pc:picChg>
        <pc:picChg chg="del">
          <ac:chgData name="Hiram Fleitas" userId="461d7124ec7a38ad" providerId="LiveId" clId="{3663DC05-B761-4AF0-89BB-24376A01088A}" dt="2019-04-24T00:24:37.249" v="116" actId="478"/>
          <ac:picMkLst>
            <pc:docMk/>
            <pc:sldMk cId="3550446227" sldId="370"/>
            <ac:picMk id="17" creationId="{47F54F54-0A1D-4B09-B203-15FC80B6A4DA}"/>
          </ac:picMkLst>
        </pc:picChg>
      </pc:sldChg>
      <pc:sldChg chg="addSp delSp">
        <pc:chgData name="Hiram Fleitas" userId="461d7124ec7a38ad" providerId="LiveId" clId="{3663DC05-B761-4AF0-89BB-24376A01088A}" dt="2019-04-24T00:30:17.477" v="206"/>
        <pc:sldMkLst>
          <pc:docMk/>
          <pc:sldMk cId="3158239655" sldId="371"/>
        </pc:sldMkLst>
        <pc:grpChg chg="add del">
          <ac:chgData name="Hiram Fleitas" userId="461d7124ec7a38ad" providerId="LiveId" clId="{3663DC05-B761-4AF0-89BB-24376A01088A}" dt="2019-04-24T00:30:17.098" v="205" actId="478"/>
          <ac:grpSpMkLst>
            <pc:docMk/>
            <pc:sldMk cId="3158239655" sldId="371"/>
            <ac:grpSpMk id="23" creationId="{B3DB5C5A-EA0D-46AC-9BD8-02721C92113F}"/>
          </ac:grpSpMkLst>
        </pc:grpChg>
        <pc:grpChg chg="add">
          <ac:chgData name="Hiram Fleitas" userId="461d7124ec7a38ad" providerId="LiveId" clId="{3663DC05-B761-4AF0-89BB-24376A01088A}" dt="2019-04-24T00:30:17.477" v="206"/>
          <ac:grpSpMkLst>
            <pc:docMk/>
            <pc:sldMk cId="3158239655" sldId="371"/>
            <ac:grpSpMk id="27" creationId="{778145BA-FEB4-4BE3-BDAB-4E3C48381DF4}"/>
          </ac:grpSpMkLst>
        </pc:grpChg>
        <pc:picChg chg="del">
          <ac:chgData name="Hiram Fleitas" userId="461d7124ec7a38ad" providerId="LiveId" clId="{3663DC05-B761-4AF0-89BB-24376A01088A}" dt="2019-04-24T00:24:44.693" v="118" actId="478"/>
          <ac:picMkLst>
            <pc:docMk/>
            <pc:sldMk cId="3158239655" sldId="371"/>
            <ac:picMk id="30" creationId="{5BA83E43-7837-4456-AB2F-15F8E64D9722}"/>
          </ac:picMkLst>
        </pc:picChg>
      </pc:sldChg>
      <pc:sldChg chg="addSp delSp">
        <pc:chgData name="Hiram Fleitas" userId="461d7124ec7a38ad" providerId="LiveId" clId="{3663DC05-B761-4AF0-89BB-24376A01088A}" dt="2019-04-24T00:28:20.329" v="171"/>
        <pc:sldMkLst>
          <pc:docMk/>
          <pc:sldMk cId="4091502606" sldId="529"/>
        </pc:sldMkLst>
        <pc:grpChg chg="add del">
          <ac:chgData name="Hiram Fleitas" userId="461d7124ec7a38ad" providerId="LiveId" clId="{3663DC05-B761-4AF0-89BB-24376A01088A}" dt="2019-04-24T00:28:19.910" v="170" actId="478"/>
          <ac:grpSpMkLst>
            <pc:docMk/>
            <pc:sldMk cId="4091502606" sldId="529"/>
            <ac:grpSpMk id="9" creationId="{B4F785FB-FB42-4F38-90DD-A7FBDA01833B}"/>
          </ac:grpSpMkLst>
        </pc:grpChg>
        <pc:grpChg chg="add">
          <ac:chgData name="Hiram Fleitas" userId="461d7124ec7a38ad" providerId="LiveId" clId="{3663DC05-B761-4AF0-89BB-24376A01088A}" dt="2019-04-24T00:28:20.329" v="171"/>
          <ac:grpSpMkLst>
            <pc:docMk/>
            <pc:sldMk cId="4091502606" sldId="529"/>
            <ac:grpSpMk id="13" creationId="{95EE5B1A-92F8-4AB7-90A6-68AE44C1D59E}"/>
          </ac:grpSpMkLst>
        </pc:grpChg>
        <pc:picChg chg="del">
          <ac:chgData name="Hiram Fleitas" userId="461d7124ec7a38ad" providerId="LiveId" clId="{3663DC05-B761-4AF0-89BB-24376A01088A}" dt="2019-04-24T00:26:52.034" v="153" actId="478"/>
          <ac:picMkLst>
            <pc:docMk/>
            <pc:sldMk cId="4091502606" sldId="529"/>
            <ac:picMk id="11" creationId="{65F2397F-1D9E-4FA1-8F27-03D94E2A6827}"/>
          </ac:picMkLst>
        </pc:picChg>
      </pc:sldChg>
      <pc:sldChg chg="addSp delSp modNotesTx">
        <pc:chgData name="Hiram Fleitas" userId="461d7124ec7a38ad" providerId="LiveId" clId="{3663DC05-B761-4AF0-89BB-24376A01088A}" dt="2019-04-24T00:30:07.677" v="202"/>
        <pc:sldMkLst>
          <pc:docMk/>
          <pc:sldMk cId="2390529645" sldId="592"/>
        </pc:sldMkLst>
        <pc:grpChg chg="add del">
          <ac:chgData name="Hiram Fleitas" userId="461d7124ec7a38ad" providerId="LiveId" clId="{3663DC05-B761-4AF0-89BB-24376A01088A}" dt="2019-04-24T00:30:07.189" v="201" actId="478"/>
          <ac:grpSpMkLst>
            <pc:docMk/>
            <pc:sldMk cId="2390529645" sldId="592"/>
            <ac:grpSpMk id="13" creationId="{90D84BB1-B6CF-4425-9AC7-E261D7B67730}"/>
          </ac:grpSpMkLst>
        </pc:grpChg>
        <pc:grpChg chg="add">
          <ac:chgData name="Hiram Fleitas" userId="461d7124ec7a38ad" providerId="LiveId" clId="{3663DC05-B761-4AF0-89BB-24376A01088A}" dt="2019-04-24T00:30:07.677" v="202"/>
          <ac:grpSpMkLst>
            <pc:docMk/>
            <pc:sldMk cId="2390529645" sldId="592"/>
            <ac:grpSpMk id="18" creationId="{FA74E4A1-36E2-46A2-B9B6-651377043F5D}"/>
          </ac:grpSpMkLst>
        </pc:grpChg>
        <pc:picChg chg="del">
          <ac:chgData name="Hiram Fleitas" userId="461d7124ec7a38ad" providerId="LiveId" clId="{3663DC05-B761-4AF0-89BB-24376A01088A}" dt="2019-04-24T00:25:01.701" v="122" actId="478"/>
          <ac:picMkLst>
            <pc:docMk/>
            <pc:sldMk cId="2390529645" sldId="592"/>
            <ac:picMk id="15" creationId="{31C3EE62-5132-4E96-BAC4-FDECB31984E9}"/>
          </ac:picMkLst>
        </pc:picChg>
      </pc:sldChg>
      <pc:sldChg chg="addSp delSp">
        <pc:chgData name="Hiram Fleitas" userId="461d7124ec7a38ad" providerId="LiveId" clId="{3663DC05-B761-4AF0-89BB-24376A01088A}" dt="2019-04-24T00:28:59.184" v="184"/>
        <pc:sldMkLst>
          <pc:docMk/>
          <pc:sldMk cId="4172075436" sldId="594"/>
        </pc:sldMkLst>
        <pc:grpChg chg="add del">
          <ac:chgData name="Hiram Fleitas" userId="461d7124ec7a38ad" providerId="LiveId" clId="{3663DC05-B761-4AF0-89BB-24376A01088A}" dt="2019-04-24T00:28:58.869" v="183" actId="478"/>
          <ac:grpSpMkLst>
            <pc:docMk/>
            <pc:sldMk cId="4172075436" sldId="594"/>
            <ac:grpSpMk id="7" creationId="{6891D890-065A-447A-B086-19A685F1B4C2}"/>
          </ac:grpSpMkLst>
        </pc:grpChg>
        <pc:grpChg chg="add">
          <ac:chgData name="Hiram Fleitas" userId="461d7124ec7a38ad" providerId="LiveId" clId="{3663DC05-B761-4AF0-89BB-24376A01088A}" dt="2019-04-24T00:28:59.184" v="184"/>
          <ac:grpSpMkLst>
            <pc:docMk/>
            <pc:sldMk cId="4172075436" sldId="594"/>
            <ac:grpSpMk id="12" creationId="{4FDF8100-31F4-4A64-8A54-AECF3687DCA3}"/>
          </ac:grpSpMkLst>
        </pc:grpChg>
        <pc:picChg chg="del">
          <ac:chgData name="Hiram Fleitas" userId="461d7124ec7a38ad" providerId="LiveId" clId="{3663DC05-B761-4AF0-89BB-24376A01088A}" dt="2019-04-24T00:25:52.630" v="139" actId="478"/>
          <ac:picMkLst>
            <pc:docMk/>
            <pc:sldMk cId="4172075436" sldId="594"/>
            <ac:picMk id="11" creationId="{D21BBCB7-DFB4-47B4-84A4-AC641BDD36BD}"/>
          </ac:picMkLst>
        </pc:picChg>
      </pc:sldChg>
      <pc:sldChg chg="addSp delSp">
        <pc:chgData name="Hiram Fleitas" userId="461d7124ec7a38ad" providerId="LiveId" clId="{3663DC05-B761-4AF0-89BB-24376A01088A}" dt="2019-04-24T00:29:59.026" v="200"/>
        <pc:sldMkLst>
          <pc:docMk/>
          <pc:sldMk cId="448541041" sldId="601"/>
        </pc:sldMkLst>
        <pc:grpChg chg="add del">
          <ac:chgData name="Hiram Fleitas" userId="461d7124ec7a38ad" providerId="LiveId" clId="{3663DC05-B761-4AF0-89BB-24376A01088A}" dt="2019-04-24T00:29:58.629" v="199" actId="478"/>
          <ac:grpSpMkLst>
            <pc:docMk/>
            <pc:sldMk cId="448541041" sldId="601"/>
            <ac:grpSpMk id="11" creationId="{5DBD5AD7-7539-46A5-851E-0B65756A4D32}"/>
          </ac:grpSpMkLst>
        </pc:grpChg>
        <pc:grpChg chg="add">
          <ac:chgData name="Hiram Fleitas" userId="461d7124ec7a38ad" providerId="LiveId" clId="{3663DC05-B761-4AF0-89BB-24376A01088A}" dt="2019-04-24T00:29:59.026" v="200"/>
          <ac:grpSpMkLst>
            <pc:docMk/>
            <pc:sldMk cId="448541041" sldId="601"/>
            <ac:grpSpMk id="16" creationId="{0E704EF5-19B9-485F-8722-16CBE3F74E03}"/>
          </ac:grpSpMkLst>
        </pc:grpChg>
        <pc:picChg chg="del">
          <ac:chgData name="Hiram Fleitas" userId="461d7124ec7a38ad" providerId="LiveId" clId="{3663DC05-B761-4AF0-89BB-24376A01088A}" dt="2019-04-24T00:25:06.829" v="124" actId="478"/>
          <ac:picMkLst>
            <pc:docMk/>
            <pc:sldMk cId="448541041" sldId="601"/>
            <ac:picMk id="13" creationId="{9B63A4C3-3498-4431-9A92-E50FE3BAD6E8}"/>
          </ac:picMkLst>
        </pc:picChg>
      </pc:sldChg>
      <pc:sldChg chg="addSp delSp">
        <pc:chgData name="Hiram Fleitas" userId="461d7124ec7a38ad" providerId="LiveId" clId="{3663DC05-B761-4AF0-89BB-24376A01088A}" dt="2019-04-24T00:29:51.529" v="198"/>
        <pc:sldMkLst>
          <pc:docMk/>
          <pc:sldMk cId="3030542895" sldId="602"/>
        </pc:sldMkLst>
        <pc:grpChg chg="add del">
          <ac:chgData name="Hiram Fleitas" userId="461d7124ec7a38ad" providerId="LiveId" clId="{3663DC05-B761-4AF0-89BB-24376A01088A}" dt="2019-04-24T00:29:51.104" v="197" actId="478"/>
          <ac:grpSpMkLst>
            <pc:docMk/>
            <pc:sldMk cId="3030542895" sldId="602"/>
            <ac:grpSpMk id="9" creationId="{093494CD-B945-491C-807E-9C2C58FF9929}"/>
          </ac:grpSpMkLst>
        </pc:grpChg>
        <pc:grpChg chg="add">
          <ac:chgData name="Hiram Fleitas" userId="461d7124ec7a38ad" providerId="LiveId" clId="{3663DC05-B761-4AF0-89BB-24376A01088A}" dt="2019-04-24T00:29:51.529" v="198"/>
          <ac:grpSpMkLst>
            <pc:docMk/>
            <pc:sldMk cId="3030542895" sldId="602"/>
            <ac:grpSpMk id="14" creationId="{FAE6AC35-D83F-445B-A487-711F76D08DE0}"/>
          </ac:grpSpMkLst>
        </pc:grpChg>
        <pc:picChg chg="del">
          <ac:chgData name="Hiram Fleitas" userId="461d7124ec7a38ad" providerId="LiveId" clId="{3663DC05-B761-4AF0-89BB-24376A01088A}" dt="2019-04-24T00:25:12.102" v="126" actId="478"/>
          <ac:picMkLst>
            <pc:docMk/>
            <pc:sldMk cId="3030542895" sldId="602"/>
            <ac:picMk id="13" creationId="{A85DB675-FF07-4C3B-89B2-9ADF159C9EF4}"/>
          </ac:picMkLst>
        </pc:picChg>
      </pc:sldChg>
      <pc:sldChg chg="addSp delSp">
        <pc:chgData name="Hiram Fleitas" userId="461d7124ec7a38ad" providerId="LiveId" clId="{3663DC05-B761-4AF0-89BB-24376A01088A}" dt="2019-04-24T00:28:13.024" v="169"/>
        <pc:sldMkLst>
          <pc:docMk/>
          <pc:sldMk cId="1221746463" sldId="609"/>
        </pc:sldMkLst>
        <pc:grpChg chg="add del">
          <ac:chgData name="Hiram Fleitas" userId="461d7124ec7a38ad" providerId="LiveId" clId="{3663DC05-B761-4AF0-89BB-24376A01088A}" dt="2019-04-24T00:28:12.689" v="168" actId="478"/>
          <ac:grpSpMkLst>
            <pc:docMk/>
            <pc:sldMk cId="1221746463" sldId="609"/>
            <ac:grpSpMk id="6" creationId="{B17469BE-583C-49BA-9431-B438F454A802}"/>
          </ac:grpSpMkLst>
        </pc:grpChg>
        <pc:grpChg chg="add">
          <ac:chgData name="Hiram Fleitas" userId="461d7124ec7a38ad" providerId="LiveId" clId="{3663DC05-B761-4AF0-89BB-24376A01088A}" dt="2019-04-24T00:28:13.024" v="169"/>
          <ac:grpSpMkLst>
            <pc:docMk/>
            <pc:sldMk cId="1221746463" sldId="609"/>
            <ac:grpSpMk id="10" creationId="{1A52DA05-8ED1-4079-A8E5-72358E51F061}"/>
          </ac:grpSpMkLst>
        </pc:grpChg>
        <pc:picChg chg="del">
          <ac:chgData name="Hiram Fleitas" userId="461d7124ec7a38ad" providerId="LiveId" clId="{3663DC05-B761-4AF0-89BB-24376A01088A}" dt="2019-04-24T00:26:56.921" v="155" actId="478"/>
          <ac:picMkLst>
            <pc:docMk/>
            <pc:sldMk cId="1221746463" sldId="609"/>
            <ac:picMk id="17" creationId="{95251286-BA74-4323-8B70-EADD5FDCCC42}"/>
          </ac:picMkLst>
        </pc:picChg>
      </pc:sldChg>
      <pc:sldChg chg="addSp delSp">
        <pc:chgData name="Hiram Fleitas" userId="461d7124ec7a38ad" providerId="LiveId" clId="{3663DC05-B761-4AF0-89BB-24376A01088A}" dt="2019-04-24T00:28:06.082" v="167"/>
        <pc:sldMkLst>
          <pc:docMk/>
          <pc:sldMk cId="668275305" sldId="611"/>
        </pc:sldMkLst>
        <pc:grpChg chg="add del">
          <ac:chgData name="Hiram Fleitas" userId="461d7124ec7a38ad" providerId="LiveId" clId="{3663DC05-B761-4AF0-89BB-24376A01088A}" dt="2019-04-24T00:27:35.747" v="162" actId="478"/>
          <ac:grpSpMkLst>
            <pc:docMk/>
            <pc:sldMk cId="668275305" sldId="611"/>
            <ac:grpSpMk id="5" creationId="{6B9B05AA-BA8C-48A6-B561-FD6C90AD0D93}"/>
          </ac:grpSpMkLst>
        </pc:grpChg>
        <pc:grpChg chg="add">
          <ac:chgData name="Hiram Fleitas" userId="461d7124ec7a38ad" providerId="LiveId" clId="{3663DC05-B761-4AF0-89BB-24376A01088A}" dt="2019-04-24T00:28:06.082" v="167"/>
          <ac:grpSpMkLst>
            <pc:docMk/>
            <pc:sldMk cId="668275305" sldId="611"/>
            <ac:grpSpMk id="9" creationId="{53D8FE57-7D70-4296-9583-8102770E28C6}"/>
          </ac:grpSpMkLst>
        </pc:grpChg>
        <pc:picChg chg="del">
          <ac:chgData name="Hiram Fleitas" userId="461d7124ec7a38ad" providerId="LiveId" clId="{3663DC05-B761-4AF0-89BB-24376A01088A}" dt="2019-04-24T00:27:01.321" v="157" actId="478"/>
          <ac:picMkLst>
            <pc:docMk/>
            <pc:sldMk cId="668275305" sldId="611"/>
            <ac:picMk id="12" creationId="{218BADB7-B8D9-4FC5-8808-D11356A04E40}"/>
          </ac:picMkLst>
        </pc:picChg>
      </pc:sldChg>
      <pc:sldChg chg="addSp delSp">
        <pc:chgData name="Hiram Fleitas" userId="461d7124ec7a38ad" providerId="LiveId" clId="{3663DC05-B761-4AF0-89BB-24376A01088A}" dt="2019-04-24T00:28:00.817" v="165"/>
        <pc:sldMkLst>
          <pc:docMk/>
          <pc:sldMk cId="3719095227" sldId="612"/>
        </pc:sldMkLst>
        <pc:grpChg chg="del">
          <ac:chgData name="Hiram Fleitas" userId="461d7124ec7a38ad" providerId="LiveId" clId="{3663DC05-B761-4AF0-89BB-24376A01088A}" dt="2019-04-24T00:27:45.727" v="164" actId="478"/>
          <ac:grpSpMkLst>
            <pc:docMk/>
            <pc:sldMk cId="3719095227" sldId="612"/>
            <ac:grpSpMk id="9" creationId="{FEE8325E-D5D8-4983-A1DA-BCC8CC926D48}"/>
          </ac:grpSpMkLst>
        </pc:grpChg>
        <pc:grpChg chg="add">
          <ac:chgData name="Hiram Fleitas" userId="461d7124ec7a38ad" providerId="LiveId" clId="{3663DC05-B761-4AF0-89BB-24376A01088A}" dt="2019-04-24T00:28:00.817" v="165"/>
          <ac:grpSpMkLst>
            <pc:docMk/>
            <pc:sldMk cId="3719095227" sldId="612"/>
            <ac:grpSpMk id="13" creationId="{F4305B99-6DAD-4B6F-9A51-9F13FCE1C271}"/>
          </ac:grpSpMkLst>
        </pc:grpChg>
      </pc:sldChg>
      <pc:sldChg chg="addSp modSp modNotesTx">
        <pc:chgData name="Hiram Fleitas" userId="461d7124ec7a38ad" providerId="LiveId" clId="{3663DC05-B761-4AF0-89BB-24376A01088A}" dt="2019-04-24T13:27:53.373" v="509" actId="20577"/>
        <pc:sldMkLst>
          <pc:docMk/>
          <pc:sldMk cId="399840568" sldId="614"/>
        </pc:sldMkLst>
        <pc:spChg chg="add mod">
          <ac:chgData name="Hiram Fleitas" userId="461d7124ec7a38ad" providerId="LiveId" clId="{3663DC05-B761-4AF0-89BB-24376A01088A}" dt="2019-04-24T01:20:58.767" v="405" actId="1076"/>
          <ac:spMkLst>
            <pc:docMk/>
            <pc:sldMk cId="399840568" sldId="614"/>
            <ac:spMk id="7" creationId="{470C6D7B-1038-4DDE-866D-9D384A74E349}"/>
          </ac:spMkLst>
        </pc:spChg>
      </pc:sldChg>
      <pc:sldChg chg="del">
        <pc:chgData name="Hiram Fleitas" userId="461d7124ec7a38ad" providerId="LiveId" clId="{3663DC05-B761-4AF0-89BB-24376A01088A}" dt="2019-04-24T01:27:47.414" v="418" actId="2696"/>
        <pc:sldMkLst>
          <pc:docMk/>
          <pc:sldMk cId="182728105" sldId="615"/>
        </pc:sldMkLst>
      </pc:sldChg>
      <pc:sldChg chg="addSp delSp modSp">
        <pc:chgData name="Hiram Fleitas" userId="461d7124ec7a38ad" providerId="LiveId" clId="{3663DC05-B761-4AF0-89BB-24376A01088A}" dt="2019-04-24T01:25:02.830" v="417" actId="167"/>
        <pc:sldMkLst>
          <pc:docMk/>
          <pc:sldMk cId="3561583775" sldId="616"/>
        </pc:sldMkLst>
        <pc:picChg chg="add del">
          <ac:chgData name="Hiram Fleitas" userId="461d7124ec7a38ad" providerId="LiveId" clId="{3663DC05-B761-4AF0-89BB-24376A01088A}" dt="2019-04-24T01:23:53.152" v="407" actId="478"/>
          <ac:picMkLst>
            <pc:docMk/>
            <pc:sldMk cId="3561583775" sldId="616"/>
            <ac:picMk id="2" creationId="{35ABB9AA-50AD-456E-ABA4-2CCCFDC1FEC0}"/>
          </ac:picMkLst>
        </pc:picChg>
        <pc:picChg chg="add del">
          <ac:chgData name="Hiram Fleitas" userId="461d7124ec7a38ad" providerId="LiveId" clId="{3663DC05-B761-4AF0-89BB-24376A01088A}" dt="2019-04-24T01:24:14.290" v="409" actId="478"/>
          <ac:picMkLst>
            <pc:docMk/>
            <pc:sldMk cId="3561583775" sldId="616"/>
            <ac:picMk id="3" creationId="{61D66E80-5604-4AB0-861D-0DB1A3D831E0}"/>
          </ac:picMkLst>
        </pc:picChg>
        <pc:picChg chg="add del">
          <ac:chgData name="Hiram Fleitas" userId="461d7124ec7a38ad" providerId="LiveId" clId="{3663DC05-B761-4AF0-89BB-24376A01088A}" dt="2019-04-24T01:24:26.813" v="411" actId="478"/>
          <ac:picMkLst>
            <pc:docMk/>
            <pc:sldMk cId="3561583775" sldId="616"/>
            <ac:picMk id="4" creationId="{B4D2E2D3-FFB1-41ED-996D-A411FC153669}"/>
          </ac:picMkLst>
        </pc:picChg>
        <pc:picChg chg="add del">
          <ac:chgData name="Hiram Fleitas" userId="461d7124ec7a38ad" providerId="LiveId" clId="{3663DC05-B761-4AF0-89BB-24376A01088A}" dt="2019-04-24T01:24:38.326" v="413" actId="478"/>
          <ac:picMkLst>
            <pc:docMk/>
            <pc:sldMk cId="3561583775" sldId="616"/>
            <ac:picMk id="5" creationId="{06C0B7BB-2405-440A-8BA0-C34125442373}"/>
          </ac:picMkLst>
        </pc:picChg>
        <pc:picChg chg="add del">
          <ac:chgData name="Hiram Fleitas" userId="461d7124ec7a38ad" providerId="LiveId" clId="{3663DC05-B761-4AF0-89BB-24376A01088A}" dt="2019-04-24T01:24:53.422" v="415" actId="478"/>
          <ac:picMkLst>
            <pc:docMk/>
            <pc:sldMk cId="3561583775" sldId="616"/>
            <ac:picMk id="6" creationId="{D1AEFE99-5DCC-473B-9EFB-B0CA66137DA1}"/>
          </ac:picMkLst>
        </pc:picChg>
        <pc:picChg chg="add ord">
          <ac:chgData name="Hiram Fleitas" userId="461d7124ec7a38ad" providerId="LiveId" clId="{3663DC05-B761-4AF0-89BB-24376A01088A}" dt="2019-04-24T01:25:02.830" v="417" actId="167"/>
          <ac:picMkLst>
            <pc:docMk/>
            <pc:sldMk cId="3561583775" sldId="616"/>
            <ac:picMk id="7" creationId="{1E961DD3-B39C-4095-AD0C-F87E26200388}"/>
          </ac:picMkLst>
        </pc:picChg>
      </pc:sldChg>
      <pc:sldChg chg="del">
        <pc:chgData name="Hiram Fleitas" userId="461d7124ec7a38ad" providerId="LiveId" clId="{3663DC05-B761-4AF0-89BB-24376A01088A}" dt="2019-04-24T00:31:11.671" v="215" actId="2696"/>
        <pc:sldMkLst>
          <pc:docMk/>
          <pc:sldMk cId="3361488099" sldId="617"/>
        </pc:sldMkLst>
      </pc:sldChg>
      <pc:sldChg chg="del">
        <pc:chgData name="Hiram Fleitas" userId="461d7124ec7a38ad" providerId="LiveId" clId="{3663DC05-B761-4AF0-89BB-24376A01088A}" dt="2019-04-24T00:31:11.693" v="216" actId="2696"/>
        <pc:sldMkLst>
          <pc:docMk/>
          <pc:sldMk cId="1417605403" sldId="618"/>
        </pc:sldMkLst>
      </pc:sldChg>
      <pc:sldChg chg="del">
        <pc:chgData name="Hiram Fleitas" userId="461d7124ec7a38ad" providerId="LiveId" clId="{3663DC05-B761-4AF0-89BB-24376A01088A}" dt="2019-04-24T00:31:11.724" v="217" actId="2696"/>
        <pc:sldMkLst>
          <pc:docMk/>
          <pc:sldMk cId="2727497336" sldId="619"/>
        </pc:sldMkLst>
      </pc:sldChg>
      <pc:sldChg chg="del">
        <pc:chgData name="Hiram Fleitas" userId="461d7124ec7a38ad" providerId="LiveId" clId="{3663DC05-B761-4AF0-89BB-24376A01088A}" dt="2019-04-24T00:31:11.767" v="218" actId="2696"/>
        <pc:sldMkLst>
          <pc:docMk/>
          <pc:sldMk cId="696402650" sldId="620"/>
        </pc:sldMkLst>
      </pc:sldChg>
      <pc:sldChg chg="del">
        <pc:chgData name="Hiram Fleitas" userId="461d7124ec7a38ad" providerId="LiveId" clId="{3663DC05-B761-4AF0-89BB-24376A01088A}" dt="2019-04-24T00:31:11.807" v="219" actId="2696"/>
        <pc:sldMkLst>
          <pc:docMk/>
          <pc:sldMk cId="490599122" sldId="621"/>
        </pc:sldMkLst>
      </pc:sldChg>
      <pc:sldChg chg="del">
        <pc:chgData name="Hiram Fleitas" userId="461d7124ec7a38ad" providerId="LiveId" clId="{3663DC05-B761-4AF0-89BB-24376A01088A}" dt="2019-04-24T00:31:11.848" v="220" actId="2696"/>
        <pc:sldMkLst>
          <pc:docMk/>
          <pc:sldMk cId="539842437" sldId="622"/>
        </pc:sldMkLst>
      </pc:sldChg>
      <pc:sldChg chg="del">
        <pc:chgData name="Hiram Fleitas" userId="461d7124ec7a38ad" providerId="LiveId" clId="{3663DC05-B761-4AF0-89BB-24376A01088A}" dt="2019-04-24T00:31:11.891" v="221" actId="2696"/>
        <pc:sldMkLst>
          <pc:docMk/>
          <pc:sldMk cId="1827299198" sldId="623"/>
        </pc:sldMkLst>
      </pc:sldChg>
      <pc:sldChg chg="del">
        <pc:chgData name="Hiram Fleitas" userId="461d7124ec7a38ad" providerId="LiveId" clId="{3663DC05-B761-4AF0-89BB-24376A01088A}" dt="2019-04-24T00:31:11.934" v="222" actId="2696"/>
        <pc:sldMkLst>
          <pc:docMk/>
          <pc:sldMk cId="113617486" sldId="624"/>
        </pc:sldMkLst>
      </pc:sldChg>
      <pc:sldChg chg="del">
        <pc:chgData name="Hiram Fleitas" userId="461d7124ec7a38ad" providerId="LiveId" clId="{3663DC05-B761-4AF0-89BB-24376A01088A}" dt="2019-04-24T00:31:11.974" v="223" actId="2696"/>
        <pc:sldMkLst>
          <pc:docMk/>
          <pc:sldMk cId="2217207733" sldId="625"/>
        </pc:sldMkLst>
      </pc:sldChg>
      <pc:sldChg chg="del">
        <pc:chgData name="Hiram Fleitas" userId="461d7124ec7a38ad" providerId="LiveId" clId="{3663DC05-B761-4AF0-89BB-24376A01088A}" dt="2019-04-24T00:31:12.015" v="224" actId="2696"/>
        <pc:sldMkLst>
          <pc:docMk/>
          <pc:sldMk cId="2086471755" sldId="626"/>
        </pc:sldMkLst>
      </pc:sldChg>
      <pc:sldChg chg="del">
        <pc:chgData name="Hiram Fleitas" userId="461d7124ec7a38ad" providerId="LiveId" clId="{3663DC05-B761-4AF0-89BB-24376A01088A}" dt="2019-04-24T00:31:12.682" v="240" actId="2696"/>
        <pc:sldMkLst>
          <pc:docMk/>
          <pc:sldMk cId="1962135146" sldId="627"/>
        </pc:sldMkLst>
      </pc:sldChg>
      <pc:sldChg chg="del">
        <pc:chgData name="Hiram Fleitas" userId="461d7124ec7a38ad" providerId="LiveId" clId="{3663DC05-B761-4AF0-89BB-24376A01088A}" dt="2019-04-24T00:31:12.753" v="241" actId="2696"/>
        <pc:sldMkLst>
          <pc:docMk/>
          <pc:sldMk cId="198898071" sldId="628"/>
        </pc:sldMkLst>
      </pc:sldChg>
      <pc:sldChg chg="del">
        <pc:chgData name="Hiram Fleitas" userId="461d7124ec7a38ad" providerId="LiveId" clId="{3663DC05-B761-4AF0-89BB-24376A01088A}" dt="2019-04-24T00:31:12.062" v="225" actId="2696"/>
        <pc:sldMkLst>
          <pc:docMk/>
          <pc:sldMk cId="3860186809" sldId="629"/>
        </pc:sldMkLst>
      </pc:sldChg>
      <pc:sldChg chg="del">
        <pc:chgData name="Hiram Fleitas" userId="461d7124ec7a38ad" providerId="LiveId" clId="{3663DC05-B761-4AF0-89BB-24376A01088A}" dt="2019-04-24T00:31:12.141" v="227" actId="2696"/>
        <pc:sldMkLst>
          <pc:docMk/>
          <pc:sldMk cId="2365079331" sldId="630"/>
        </pc:sldMkLst>
      </pc:sldChg>
      <pc:sldChg chg="del">
        <pc:chgData name="Hiram Fleitas" userId="461d7124ec7a38ad" providerId="LiveId" clId="{3663DC05-B761-4AF0-89BB-24376A01088A}" dt="2019-04-24T00:31:12.102" v="226" actId="2696"/>
        <pc:sldMkLst>
          <pc:docMk/>
          <pc:sldMk cId="4086997974" sldId="631"/>
        </pc:sldMkLst>
      </pc:sldChg>
      <pc:sldChg chg="del">
        <pc:chgData name="Hiram Fleitas" userId="461d7124ec7a38ad" providerId="LiveId" clId="{3663DC05-B761-4AF0-89BB-24376A01088A}" dt="2019-04-24T00:31:12.188" v="228" actId="2696"/>
        <pc:sldMkLst>
          <pc:docMk/>
          <pc:sldMk cId="2390540093" sldId="632"/>
        </pc:sldMkLst>
      </pc:sldChg>
      <pc:sldChg chg="del">
        <pc:chgData name="Hiram Fleitas" userId="461d7124ec7a38ad" providerId="LiveId" clId="{3663DC05-B761-4AF0-89BB-24376A01088A}" dt="2019-04-24T00:31:12.227" v="229" actId="2696"/>
        <pc:sldMkLst>
          <pc:docMk/>
          <pc:sldMk cId="1745177719" sldId="633"/>
        </pc:sldMkLst>
      </pc:sldChg>
      <pc:sldChg chg="del">
        <pc:chgData name="Hiram Fleitas" userId="461d7124ec7a38ad" providerId="LiveId" clId="{3663DC05-B761-4AF0-89BB-24376A01088A}" dt="2019-04-24T00:31:12.310" v="231" actId="2696"/>
        <pc:sldMkLst>
          <pc:docMk/>
          <pc:sldMk cId="3320960992" sldId="634"/>
        </pc:sldMkLst>
      </pc:sldChg>
      <pc:sldChg chg="del">
        <pc:chgData name="Hiram Fleitas" userId="461d7124ec7a38ad" providerId="LiveId" clId="{3663DC05-B761-4AF0-89BB-24376A01088A}" dt="2019-04-24T00:31:12.393" v="233" actId="2696"/>
        <pc:sldMkLst>
          <pc:docMk/>
          <pc:sldMk cId="3313071216" sldId="635"/>
        </pc:sldMkLst>
      </pc:sldChg>
      <pc:sldChg chg="del">
        <pc:chgData name="Hiram Fleitas" userId="461d7124ec7a38ad" providerId="LiveId" clId="{3663DC05-B761-4AF0-89BB-24376A01088A}" dt="2019-04-24T00:31:12.434" v="234" actId="2696"/>
        <pc:sldMkLst>
          <pc:docMk/>
          <pc:sldMk cId="4090891588" sldId="636"/>
        </pc:sldMkLst>
      </pc:sldChg>
      <pc:sldChg chg="del">
        <pc:chgData name="Hiram Fleitas" userId="461d7124ec7a38ad" providerId="LiveId" clId="{3663DC05-B761-4AF0-89BB-24376A01088A}" dt="2019-04-24T00:31:12.475" v="235" actId="2696"/>
        <pc:sldMkLst>
          <pc:docMk/>
          <pc:sldMk cId="3803547962" sldId="637"/>
        </pc:sldMkLst>
      </pc:sldChg>
      <pc:sldChg chg="del">
        <pc:chgData name="Hiram Fleitas" userId="461d7124ec7a38ad" providerId="LiveId" clId="{3663DC05-B761-4AF0-89BB-24376A01088A}" dt="2019-04-24T00:31:12.515" v="236" actId="2696"/>
        <pc:sldMkLst>
          <pc:docMk/>
          <pc:sldMk cId="2779367005" sldId="638"/>
        </pc:sldMkLst>
      </pc:sldChg>
      <pc:sldChg chg="del">
        <pc:chgData name="Hiram Fleitas" userId="461d7124ec7a38ad" providerId="LiveId" clId="{3663DC05-B761-4AF0-89BB-24376A01088A}" dt="2019-04-24T00:31:12.601" v="238" actId="2696"/>
        <pc:sldMkLst>
          <pc:docMk/>
          <pc:sldMk cId="1831562036" sldId="639"/>
        </pc:sldMkLst>
      </pc:sldChg>
      <pc:sldChg chg="del">
        <pc:chgData name="Hiram Fleitas" userId="461d7124ec7a38ad" providerId="LiveId" clId="{3663DC05-B761-4AF0-89BB-24376A01088A}" dt="2019-04-24T00:31:12.267" v="230" actId="2696"/>
        <pc:sldMkLst>
          <pc:docMk/>
          <pc:sldMk cId="3202692473" sldId="640"/>
        </pc:sldMkLst>
      </pc:sldChg>
      <pc:sldChg chg="del">
        <pc:chgData name="Hiram Fleitas" userId="461d7124ec7a38ad" providerId="LiveId" clId="{3663DC05-B761-4AF0-89BB-24376A01088A}" dt="2019-04-24T00:31:12.352" v="232" actId="2696"/>
        <pc:sldMkLst>
          <pc:docMk/>
          <pc:sldMk cId="815921804" sldId="641"/>
        </pc:sldMkLst>
      </pc:sldChg>
      <pc:sldChg chg="del">
        <pc:chgData name="Hiram Fleitas" userId="461d7124ec7a38ad" providerId="LiveId" clId="{3663DC05-B761-4AF0-89BB-24376A01088A}" dt="2019-04-24T00:31:25.439" v="242" actId="2696"/>
        <pc:sldMkLst>
          <pc:docMk/>
          <pc:sldMk cId="3203610483" sldId="642"/>
        </pc:sldMkLst>
      </pc:sldChg>
      <pc:sldChg chg="del">
        <pc:chgData name="Hiram Fleitas" userId="461d7124ec7a38ad" providerId="LiveId" clId="{3663DC05-B761-4AF0-89BB-24376A01088A}" dt="2019-04-24T00:31:36.417" v="243" actId="2696"/>
        <pc:sldMkLst>
          <pc:docMk/>
          <pc:sldMk cId="2376225854" sldId="644"/>
        </pc:sldMkLst>
      </pc:sldChg>
      <pc:sldChg chg="del">
        <pc:chgData name="Hiram Fleitas" userId="461d7124ec7a38ad" providerId="LiveId" clId="{3663DC05-B761-4AF0-89BB-24376A01088A}" dt="2019-04-24T00:31:36.438" v="244" actId="2696"/>
        <pc:sldMkLst>
          <pc:docMk/>
          <pc:sldMk cId="2204269126" sldId="645"/>
        </pc:sldMkLst>
      </pc:sldChg>
      <pc:sldChg chg="del">
        <pc:chgData name="Hiram Fleitas" userId="461d7124ec7a38ad" providerId="LiveId" clId="{3663DC05-B761-4AF0-89BB-24376A01088A}" dt="2019-04-24T00:31:36.476" v="245" actId="2696"/>
        <pc:sldMkLst>
          <pc:docMk/>
          <pc:sldMk cId="80619656" sldId="646"/>
        </pc:sldMkLst>
      </pc:sldChg>
      <pc:sldChg chg="del">
        <pc:chgData name="Hiram Fleitas" userId="461d7124ec7a38ad" providerId="LiveId" clId="{3663DC05-B761-4AF0-89BB-24376A01088A}" dt="2019-04-24T00:31:36.518" v="246" actId="2696"/>
        <pc:sldMkLst>
          <pc:docMk/>
          <pc:sldMk cId="97013802" sldId="647"/>
        </pc:sldMkLst>
      </pc:sldChg>
      <pc:sldChg chg="del">
        <pc:chgData name="Hiram Fleitas" userId="461d7124ec7a38ad" providerId="LiveId" clId="{3663DC05-B761-4AF0-89BB-24376A01088A}" dt="2019-04-24T00:31:37.127" v="260" actId="2696"/>
        <pc:sldMkLst>
          <pc:docMk/>
          <pc:sldMk cId="2723794296" sldId="648"/>
        </pc:sldMkLst>
      </pc:sldChg>
      <pc:sldChg chg="del">
        <pc:chgData name="Hiram Fleitas" userId="461d7124ec7a38ad" providerId="LiveId" clId="{3663DC05-B761-4AF0-89BB-24376A01088A}" dt="2019-04-24T00:31:12.557" v="237" actId="2696"/>
        <pc:sldMkLst>
          <pc:docMk/>
          <pc:sldMk cId="1464333641" sldId="649"/>
        </pc:sldMkLst>
      </pc:sldChg>
      <pc:sldChg chg="del">
        <pc:chgData name="Hiram Fleitas" userId="461d7124ec7a38ad" providerId="LiveId" clId="{3663DC05-B761-4AF0-89BB-24376A01088A}" dt="2019-04-24T00:31:12.640" v="239" actId="2696"/>
        <pc:sldMkLst>
          <pc:docMk/>
          <pc:sldMk cId="1833771102" sldId="650"/>
        </pc:sldMkLst>
      </pc:sldChg>
      <pc:sldChg chg="del">
        <pc:chgData name="Hiram Fleitas" userId="461d7124ec7a38ad" providerId="LiveId" clId="{3663DC05-B761-4AF0-89BB-24376A01088A}" dt="2019-04-24T00:31:36.559" v="247" actId="2696"/>
        <pc:sldMkLst>
          <pc:docMk/>
          <pc:sldMk cId="1426452378" sldId="651"/>
        </pc:sldMkLst>
      </pc:sldChg>
      <pc:sldChg chg="del">
        <pc:chgData name="Hiram Fleitas" userId="461d7124ec7a38ad" providerId="LiveId" clId="{3663DC05-B761-4AF0-89BB-24376A01088A}" dt="2019-04-24T00:31:36.599" v="248" actId="2696"/>
        <pc:sldMkLst>
          <pc:docMk/>
          <pc:sldMk cId="3022865656" sldId="652"/>
        </pc:sldMkLst>
      </pc:sldChg>
      <pc:sldChg chg="del">
        <pc:chgData name="Hiram Fleitas" userId="461d7124ec7a38ad" providerId="LiveId" clId="{3663DC05-B761-4AF0-89BB-24376A01088A}" dt="2019-04-24T00:31:36.640" v="249" actId="2696"/>
        <pc:sldMkLst>
          <pc:docMk/>
          <pc:sldMk cId="2964126328" sldId="653"/>
        </pc:sldMkLst>
      </pc:sldChg>
      <pc:sldChg chg="del">
        <pc:chgData name="Hiram Fleitas" userId="461d7124ec7a38ad" providerId="LiveId" clId="{3663DC05-B761-4AF0-89BB-24376A01088A}" dt="2019-04-24T00:31:37.021" v="258" actId="2696"/>
        <pc:sldMkLst>
          <pc:docMk/>
          <pc:sldMk cId="1062091380" sldId="654"/>
        </pc:sldMkLst>
      </pc:sldChg>
      <pc:sldChg chg="del">
        <pc:chgData name="Hiram Fleitas" userId="461d7124ec7a38ad" providerId="LiveId" clId="{3663DC05-B761-4AF0-89BB-24376A01088A}" dt="2019-04-24T00:31:37.060" v="259" actId="2696"/>
        <pc:sldMkLst>
          <pc:docMk/>
          <pc:sldMk cId="2577895836" sldId="655"/>
        </pc:sldMkLst>
      </pc:sldChg>
      <pc:sldChg chg="del">
        <pc:chgData name="Hiram Fleitas" userId="461d7124ec7a38ad" providerId="LiveId" clId="{3663DC05-B761-4AF0-89BB-24376A01088A}" dt="2019-04-24T00:31:36.684" v="250" actId="2696"/>
        <pc:sldMkLst>
          <pc:docMk/>
          <pc:sldMk cId="1667022440" sldId="657"/>
        </pc:sldMkLst>
      </pc:sldChg>
      <pc:sldChg chg="del">
        <pc:chgData name="Hiram Fleitas" userId="461d7124ec7a38ad" providerId="LiveId" clId="{3663DC05-B761-4AF0-89BB-24376A01088A}" dt="2019-04-24T00:31:36.724" v="251" actId="2696"/>
        <pc:sldMkLst>
          <pc:docMk/>
          <pc:sldMk cId="1896899847" sldId="658"/>
        </pc:sldMkLst>
      </pc:sldChg>
      <pc:sldChg chg="del">
        <pc:chgData name="Hiram Fleitas" userId="461d7124ec7a38ad" providerId="LiveId" clId="{3663DC05-B761-4AF0-89BB-24376A01088A}" dt="2019-04-24T00:31:36.765" v="252" actId="2696"/>
        <pc:sldMkLst>
          <pc:docMk/>
          <pc:sldMk cId="4088791999" sldId="659"/>
        </pc:sldMkLst>
      </pc:sldChg>
      <pc:sldChg chg="del">
        <pc:chgData name="Hiram Fleitas" userId="461d7124ec7a38ad" providerId="LiveId" clId="{3663DC05-B761-4AF0-89BB-24376A01088A}" dt="2019-04-24T00:31:36.933" v="256" actId="2696"/>
        <pc:sldMkLst>
          <pc:docMk/>
          <pc:sldMk cId="3819932772" sldId="660"/>
        </pc:sldMkLst>
      </pc:sldChg>
      <pc:sldChg chg="del">
        <pc:chgData name="Hiram Fleitas" userId="461d7124ec7a38ad" providerId="LiveId" clId="{3663DC05-B761-4AF0-89BB-24376A01088A}" dt="2019-04-24T00:31:36.974" v="257" actId="2696"/>
        <pc:sldMkLst>
          <pc:docMk/>
          <pc:sldMk cId="73256554" sldId="661"/>
        </pc:sldMkLst>
      </pc:sldChg>
      <pc:sldChg chg="del">
        <pc:chgData name="Hiram Fleitas" userId="461d7124ec7a38ad" providerId="LiveId" clId="{3663DC05-B761-4AF0-89BB-24376A01088A}" dt="2019-04-24T00:31:36.808" v="253" actId="2696"/>
        <pc:sldMkLst>
          <pc:docMk/>
          <pc:sldMk cId="1917807411" sldId="662"/>
        </pc:sldMkLst>
      </pc:sldChg>
      <pc:sldChg chg="del">
        <pc:chgData name="Hiram Fleitas" userId="461d7124ec7a38ad" providerId="LiveId" clId="{3663DC05-B761-4AF0-89BB-24376A01088A}" dt="2019-04-24T00:31:36.853" v="254" actId="2696"/>
        <pc:sldMkLst>
          <pc:docMk/>
          <pc:sldMk cId="1041911975" sldId="663"/>
        </pc:sldMkLst>
      </pc:sldChg>
      <pc:sldChg chg="del">
        <pc:chgData name="Hiram Fleitas" userId="461d7124ec7a38ad" providerId="LiveId" clId="{3663DC05-B761-4AF0-89BB-24376A01088A}" dt="2019-04-24T00:31:36.892" v="255" actId="2696"/>
        <pc:sldMkLst>
          <pc:docMk/>
          <pc:sldMk cId="3008897298" sldId="664"/>
        </pc:sldMkLst>
      </pc:sldChg>
      <pc:sldChg chg="del">
        <pc:chgData name="Hiram Fleitas" userId="461d7124ec7a38ad" providerId="LiveId" clId="{3663DC05-B761-4AF0-89BB-24376A01088A}" dt="2019-04-24T00:31:51.363" v="261" actId="2696"/>
        <pc:sldMkLst>
          <pc:docMk/>
          <pc:sldMk cId="412108984" sldId="666"/>
        </pc:sldMkLst>
      </pc:sldChg>
      <pc:sldChg chg="del">
        <pc:chgData name="Hiram Fleitas" userId="461d7124ec7a38ad" providerId="LiveId" clId="{3663DC05-B761-4AF0-89BB-24376A01088A}" dt="2019-04-24T00:31:51.383" v="262" actId="2696"/>
        <pc:sldMkLst>
          <pc:docMk/>
          <pc:sldMk cId="1302877948" sldId="667"/>
        </pc:sldMkLst>
      </pc:sldChg>
      <pc:sldChg chg="del">
        <pc:chgData name="Hiram Fleitas" userId="461d7124ec7a38ad" providerId="LiveId" clId="{3663DC05-B761-4AF0-89BB-24376A01088A}" dt="2019-04-24T00:31:51.433" v="263" actId="2696"/>
        <pc:sldMkLst>
          <pc:docMk/>
          <pc:sldMk cId="2606921316" sldId="668"/>
        </pc:sldMkLst>
      </pc:sldChg>
      <pc:sldChg chg="del">
        <pc:chgData name="Hiram Fleitas" userId="461d7124ec7a38ad" providerId="LiveId" clId="{3663DC05-B761-4AF0-89BB-24376A01088A}" dt="2019-04-24T00:31:51.474" v="264" actId="2696"/>
        <pc:sldMkLst>
          <pc:docMk/>
          <pc:sldMk cId="1526980059" sldId="669"/>
        </pc:sldMkLst>
      </pc:sldChg>
      <pc:sldChg chg="del">
        <pc:chgData name="Hiram Fleitas" userId="461d7124ec7a38ad" providerId="LiveId" clId="{3663DC05-B761-4AF0-89BB-24376A01088A}" dt="2019-04-24T00:31:51.517" v="265" actId="2696"/>
        <pc:sldMkLst>
          <pc:docMk/>
          <pc:sldMk cId="3007423620" sldId="670"/>
        </pc:sldMkLst>
      </pc:sldChg>
      <pc:sldChg chg="del">
        <pc:chgData name="Hiram Fleitas" userId="461d7124ec7a38ad" providerId="LiveId" clId="{3663DC05-B761-4AF0-89BB-24376A01088A}" dt="2019-04-24T00:31:51.585" v="266" actId="2696"/>
        <pc:sldMkLst>
          <pc:docMk/>
          <pc:sldMk cId="3575276869" sldId="671"/>
        </pc:sldMkLst>
      </pc:sldChg>
      <pc:sldChg chg="del">
        <pc:chgData name="Hiram Fleitas" userId="461d7124ec7a38ad" providerId="LiveId" clId="{3663DC05-B761-4AF0-89BB-24376A01088A}" dt="2019-04-24T01:11:08.684" v="400" actId="2696"/>
        <pc:sldMkLst>
          <pc:docMk/>
          <pc:sldMk cId="867480740" sldId="673"/>
        </pc:sldMkLst>
      </pc:sldChg>
      <pc:sldChg chg="del">
        <pc:chgData name="Hiram Fleitas" userId="461d7124ec7a38ad" providerId="LiveId" clId="{3663DC05-B761-4AF0-89BB-24376A01088A}" dt="2019-04-24T01:10:19.749" v="386" actId="2696"/>
        <pc:sldMkLst>
          <pc:docMk/>
          <pc:sldMk cId="1900035828" sldId="678"/>
        </pc:sldMkLst>
      </pc:sldChg>
      <pc:sldChg chg="del">
        <pc:chgData name="Hiram Fleitas" userId="461d7124ec7a38ad" providerId="LiveId" clId="{3663DC05-B761-4AF0-89BB-24376A01088A}" dt="2019-04-24T00:32:34.592" v="267" actId="2696"/>
        <pc:sldMkLst>
          <pc:docMk/>
          <pc:sldMk cId="83772645" sldId="683"/>
        </pc:sldMkLst>
      </pc:sldChg>
      <pc:sldChg chg="del">
        <pc:chgData name="Hiram Fleitas" userId="461d7124ec7a38ad" providerId="LiveId" clId="{3663DC05-B761-4AF0-89BB-24376A01088A}" dt="2019-04-24T00:32:34.616" v="268" actId="2696"/>
        <pc:sldMkLst>
          <pc:docMk/>
          <pc:sldMk cId="659669438" sldId="684"/>
        </pc:sldMkLst>
      </pc:sldChg>
      <pc:sldChg chg="del">
        <pc:chgData name="Hiram Fleitas" userId="461d7124ec7a38ad" providerId="LiveId" clId="{3663DC05-B761-4AF0-89BB-24376A01088A}" dt="2019-04-24T01:10:34.192" v="395" actId="2696"/>
        <pc:sldMkLst>
          <pc:docMk/>
          <pc:sldMk cId="356735816" sldId="686"/>
        </pc:sldMkLst>
      </pc:sldChg>
      <pc:sldChg chg="del">
        <pc:chgData name="Hiram Fleitas" userId="461d7124ec7a38ad" providerId="LiveId" clId="{3663DC05-B761-4AF0-89BB-24376A01088A}" dt="2019-04-24T01:10:59.231" v="398" actId="2696"/>
        <pc:sldMkLst>
          <pc:docMk/>
          <pc:sldMk cId="803725692" sldId="687"/>
        </pc:sldMkLst>
      </pc:sldChg>
      <pc:sldChg chg="del">
        <pc:chgData name="Hiram Fleitas" userId="461d7124ec7a38ad" providerId="LiveId" clId="{3663DC05-B761-4AF0-89BB-24376A01088A}" dt="2019-04-24T01:11:02.074" v="399" actId="2696"/>
        <pc:sldMkLst>
          <pc:docMk/>
          <pc:sldMk cId="3495148118" sldId="688"/>
        </pc:sldMkLst>
      </pc:sldChg>
      <pc:sldChg chg="del">
        <pc:chgData name="Hiram Fleitas" userId="461d7124ec7a38ad" providerId="LiveId" clId="{3663DC05-B761-4AF0-89BB-24376A01088A}" dt="2019-04-24T01:10:35.881" v="396" actId="2696"/>
        <pc:sldMkLst>
          <pc:docMk/>
          <pc:sldMk cId="1985958693" sldId="695"/>
        </pc:sldMkLst>
      </pc:sldChg>
      <pc:sldChg chg="del">
        <pc:chgData name="Hiram Fleitas" userId="461d7124ec7a38ad" providerId="LiveId" clId="{3663DC05-B761-4AF0-89BB-24376A01088A}" dt="2019-04-24T01:10:44.713" v="397" actId="2696"/>
        <pc:sldMkLst>
          <pc:docMk/>
          <pc:sldMk cId="1713479776" sldId="696"/>
        </pc:sldMkLst>
      </pc:sldChg>
      <pc:sldChg chg="del">
        <pc:chgData name="Hiram Fleitas" userId="461d7124ec7a38ad" providerId="LiveId" clId="{3663DC05-B761-4AF0-89BB-24376A01088A}" dt="2019-04-24T01:10:27.533" v="394" actId="2696"/>
        <pc:sldMkLst>
          <pc:docMk/>
          <pc:sldMk cId="1504766887" sldId="701"/>
        </pc:sldMkLst>
      </pc:sldChg>
      <pc:sldChg chg="del">
        <pc:chgData name="Hiram Fleitas" userId="461d7124ec7a38ad" providerId="LiveId" clId="{3663DC05-B761-4AF0-89BB-24376A01088A}" dt="2019-04-24T01:10:27.518" v="393" actId="2696"/>
        <pc:sldMkLst>
          <pc:docMk/>
          <pc:sldMk cId="1851751034" sldId="702"/>
        </pc:sldMkLst>
      </pc:sldChg>
      <pc:sldChg chg="del">
        <pc:chgData name="Hiram Fleitas" userId="461d7124ec7a38ad" providerId="LiveId" clId="{3663DC05-B761-4AF0-89BB-24376A01088A}" dt="2019-04-24T01:10:27.509" v="392" actId="2696"/>
        <pc:sldMkLst>
          <pc:docMk/>
          <pc:sldMk cId="3121992879" sldId="703"/>
        </pc:sldMkLst>
      </pc:sldChg>
      <pc:sldChg chg="del">
        <pc:chgData name="Hiram Fleitas" userId="461d7124ec7a38ad" providerId="LiveId" clId="{3663DC05-B761-4AF0-89BB-24376A01088A}" dt="2019-04-24T01:10:27.488" v="390" actId="2696"/>
        <pc:sldMkLst>
          <pc:docMk/>
          <pc:sldMk cId="3233326076" sldId="704"/>
        </pc:sldMkLst>
      </pc:sldChg>
      <pc:sldChg chg="del">
        <pc:chgData name="Hiram Fleitas" userId="461d7124ec7a38ad" providerId="LiveId" clId="{3663DC05-B761-4AF0-89BB-24376A01088A}" dt="2019-04-24T01:10:27.498" v="391" actId="2696"/>
        <pc:sldMkLst>
          <pc:docMk/>
          <pc:sldMk cId="2338626378" sldId="705"/>
        </pc:sldMkLst>
      </pc:sldChg>
      <pc:sldChg chg="del">
        <pc:chgData name="Hiram Fleitas" userId="461d7124ec7a38ad" providerId="LiveId" clId="{3663DC05-B761-4AF0-89BB-24376A01088A}" dt="2019-04-24T01:10:27.479" v="389" actId="2696"/>
        <pc:sldMkLst>
          <pc:docMk/>
          <pc:sldMk cId="4106713956" sldId="706"/>
        </pc:sldMkLst>
      </pc:sldChg>
      <pc:sldChg chg="del">
        <pc:chgData name="Hiram Fleitas" userId="461d7124ec7a38ad" providerId="LiveId" clId="{3663DC05-B761-4AF0-89BB-24376A01088A}" dt="2019-04-24T01:10:15.340" v="379" actId="2696"/>
        <pc:sldMkLst>
          <pc:docMk/>
          <pc:sldMk cId="1140899547" sldId="708"/>
        </pc:sldMkLst>
      </pc:sldChg>
      <pc:sldChg chg="del">
        <pc:chgData name="Hiram Fleitas" userId="461d7124ec7a38ad" providerId="LiveId" clId="{3663DC05-B761-4AF0-89BB-24376A01088A}" dt="2019-04-24T01:10:15.626" v="384" actId="2696"/>
        <pc:sldMkLst>
          <pc:docMk/>
          <pc:sldMk cId="2026498423" sldId="709"/>
        </pc:sldMkLst>
      </pc:sldChg>
      <pc:sldChg chg="del">
        <pc:chgData name="Hiram Fleitas" userId="461d7124ec7a38ad" providerId="LiveId" clId="{3663DC05-B761-4AF0-89BB-24376A01088A}" dt="2019-04-24T01:09:58.325" v="378" actId="2696"/>
        <pc:sldMkLst>
          <pc:docMk/>
          <pc:sldMk cId="3318796447" sldId="711"/>
        </pc:sldMkLst>
      </pc:sldChg>
      <pc:sldChg chg="del">
        <pc:chgData name="Hiram Fleitas" userId="461d7124ec7a38ad" providerId="LiveId" clId="{3663DC05-B761-4AF0-89BB-24376A01088A}" dt="2019-04-24T01:10:19.759" v="387" actId="2696"/>
        <pc:sldMkLst>
          <pc:docMk/>
          <pc:sldMk cId="2349677545" sldId="715"/>
        </pc:sldMkLst>
      </pc:sldChg>
      <pc:sldChg chg="del">
        <pc:chgData name="Hiram Fleitas" userId="461d7124ec7a38ad" providerId="LiveId" clId="{3663DC05-B761-4AF0-89BB-24376A01088A}" dt="2019-04-24T01:10:19.768" v="388" actId="2696"/>
        <pc:sldMkLst>
          <pc:docMk/>
          <pc:sldMk cId="412652076" sldId="716"/>
        </pc:sldMkLst>
      </pc:sldChg>
      <pc:sldChg chg="del">
        <pc:chgData name="Hiram Fleitas" userId="461d7124ec7a38ad" providerId="LiveId" clId="{3663DC05-B761-4AF0-89BB-24376A01088A}" dt="2019-04-24T01:10:19.739" v="385" actId="2696"/>
        <pc:sldMkLst>
          <pc:docMk/>
          <pc:sldMk cId="3100161373" sldId="717"/>
        </pc:sldMkLst>
      </pc:sldChg>
      <pc:sldChg chg="del">
        <pc:chgData name="Hiram Fleitas" userId="461d7124ec7a38ad" providerId="LiveId" clId="{3663DC05-B761-4AF0-89BB-24376A01088A}" dt="2019-04-24T01:10:15.420" v="381" actId="2696"/>
        <pc:sldMkLst>
          <pc:docMk/>
          <pc:sldMk cId="1895256091" sldId="718"/>
        </pc:sldMkLst>
      </pc:sldChg>
      <pc:sldChg chg="del">
        <pc:chgData name="Hiram Fleitas" userId="461d7124ec7a38ad" providerId="LiveId" clId="{3663DC05-B761-4AF0-89BB-24376A01088A}" dt="2019-04-24T01:10:15.375" v="380" actId="2696"/>
        <pc:sldMkLst>
          <pc:docMk/>
          <pc:sldMk cId="826483510" sldId="719"/>
        </pc:sldMkLst>
      </pc:sldChg>
      <pc:sldChg chg="del">
        <pc:chgData name="Hiram Fleitas" userId="461d7124ec7a38ad" providerId="LiveId" clId="{3663DC05-B761-4AF0-89BB-24376A01088A}" dt="2019-04-24T01:10:15.502" v="382" actId="2696"/>
        <pc:sldMkLst>
          <pc:docMk/>
          <pc:sldMk cId="693809182" sldId="720"/>
        </pc:sldMkLst>
      </pc:sldChg>
      <pc:sldChg chg="del">
        <pc:chgData name="Hiram Fleitas" userId="461d7124ec7a38ad" providerId="LiveId" clId="{3663DC05-B761-4AF0-89BB-24376A01088A}" dt="2019-04-24T01:10:15.546" v="383" actId="2696"/>
        <pc:sldMkLst>
          <pc:docMk/>
          <pc:sldMk cId="3687061194" sldId="722"/>
        </pc:sldMkLst>
      </pc:sldChg>
      <pc:sldChg chg="del">
        <pc:chgData name="Hiram Fleitas" userId="461d7124ec7a38ad" providerId="LiveId" clId="{3663DC05-B761-4AF0-89BB-24376A01088A}" dt="2019-04-24T01:09:52.498" v="377" actId="2696"/>
        <pc:sldMkLst>
          <pc:docMk/>
          <pc:sldMk cId="2484420045" sldId="724"/>
        </pc:sldMkLst>
      </pc:sldChg>
      <pc:sldChg chg="del">
        <pc:chgData name="Hiram Fleitas" userId="461d7124ec7a38ad" providerId="LiveId" clId="{3663DC05-B761-4AF0-89BB-24376A01088A}" dt="2019-04-24T01:09:45.721" v="375" actId="2696"/>
        <pc:sldMkLst>
          <pc:docMk/>
          <pc:sldMk cId="2386033647" sldId="727"/>
        </pc:sldMkLst>
      </pc:sldChg>
      <pc:sldChg chg="del">
        <pc:chgData name="Hiram Fleitas" userId="461d7124ec7a38ad" providerId="LiveId" clId="{3663DC05-B761-4AF0-89BB-24376A01088A}" dt="2019-04-24T01:09:45.732" v="376" actId="2696"/>
        <pc:sldMkLst>
          <pc:docMk/>
          <pc:sldMk cId="3629348682" sldId="729"/>
        </pc:sldMkLst>
      </pc:sldChg>
      <pc:sldChg chg="del">
        <pc:chgData name="Hiram Fleitas" userId="461d7124ec7a38ad" providerId="LiveId" clId="{3663DC05-B761-4AF0-89BB-24376A01088A}" dt="2019-04-24T01:03:46.502" v="363" actId="2696"/>
        <pc:sldMkLst>
          <pc:docMk/>
          <pc:sldMk cId="2960795292" sldId="771"/>
        </pc:sldMkLst>
      </pc:sldChg>
      <pc:sldChg chg="del">
        <pc:chgData name="Hiram Fleitas" userId="461d7124ec7a38ad" providerId="LiveId" clId="{3663DC05-B761-4AF0-89BB-24376A01088A}" dt="2019-04-24T01:03:46.511" v="364" actId="2696"/>
        <pc:sldMkLst>
          <pc:docMk/>
          <pc:sldMk cId="3040513729" sldId="772"/>
        </pc:sldMkLst>
      </pc:sldChg>
      <pc:sldChg chg="del">
        <pc:chgData name="Hiram Fleitas" userId="461d7124ec7a38ad" providerId="LiveId" clId="{3663DC05-B761-4AF0-89BB-24376A01088A}" dt="2019-04-24T01:03:46.520" v="365" actId="2696"/>
        <pc:sldMkLst>
          <pc:docMk/>
          <pc:sldMk cId="100113431" sldId="773"/>
        </pc:sldMkLst>
      </pc:sldChg>
      <pc:sldChg chg="del">
        <pc:chgData name="Hiram Fleitas" userId="461d7124ec7a38ad" providerId="LiveId" clId="{3663DC05-B761-4AF0-89BB-24376A01088A}" dt="2019-04-24T01:03:46.530" v="366" actId="2696"/>
        <pc:sldMkLst>
          <pc:docMk/>
          <pc:sldMk cId="965190596" sldId="774"/>
        </pc:sldMkLst>
      </pc:sldChg>
      <pc:sldChg chg="del">
        <pc:chgData name="Hiram Fleitas" userId="461d7124ec7a38ad" providerId="LiveId" clId="{3663DC05-B761-4AF0-89BB-24376A01088A}" dt="2019-04-24T01:03:46.539" v="367" actId="2696"/>
        <pc:sldMkLst>
          <pc:docMk/>
          <pc:sldMk cId="1424674755" sldId="775"/>
        </pc:sldMkLst>
      </pc:sldChg>
      <pc:sldChg chg="del">
        <pc:chgData name="Hiram Fleitas" userId="461d7124ec7a38ad" providerId="LiveId" clId="{3663DC05-B761-4AF0-89BB-24376A01088A}" dt="2019-04-24T01:03:46.549" v="368" actId="2696"/>
        <pc:sldMkLst>
          <pc:docMk/>
          <pc:sldMk cId="2209414242" sldId="776"/>
        </pc:sldMkLst>
      </pc:sldChg>
      <pc:sldChg chg="del">
        <pc:chgData name="Hiram Fleitas" userId="461d7124ec7a38ad" providerId="LiveId" clId="{3663DC05-B761-4AF0-89BB-24376A01088A}" dt="2019-04-24T01:03:46.559" v="369" actId="2696"/>
        <pc:sldMkLst>
          <pc:docMk/>
          <pc:sldMk cId="719823036" sldId="777"/>
        </pc:sldMkLst>
      </pc:sldChg>
      <pc:sldChg chg="del">
        <pc:chgData name="Hiram Fleitas" userId="461d7124ec7a38ad" providerId="LiveId" clId="{3663DC05-B761-4AF0-89BB-24376A01088A}" dt="2019-04-24T01:03:46.569" v="370" actId="2696"/>
        <pc:sldMkLst>
          <pc:docMk/>
          <pc:sldMk cId="1922898389" sldId="778"/>
        </pc:sldMkLst>
      </pc:sldChg>
      <pc:sldChg chg="del">
        <pc:chgData name="Hiram Fleitas" userId="461d7124ec7a38ad" providerId="LiveId" clId="{3663DC05-B761-4AF0-89BB-24376A01088A}" dt="2019-04-24T01:03:46.581" v="371" actId="2696"/>
        <pc:sldMkLst>
          <pc:docMk/>
          <pc:sldMk cId="2920630477" sldId="779"/>
        </pc:sldMkLst>
      </pc:sldChg>
      <pc:sldChg chg="del">
        <pc:chgData name="Hiram Fleitas" userId="461d7124ec7a38ad" providerId="LiveId" clId="{3663DC05-B761-4AF0-89BB-24376A01088A}" dt="2019-04-24T01:03:46.592" v="372" actId="2696"/>
        <pc:sldMkLst>
          <pc:docMk/>
          <pc:sldMk cId="3617735252" sldId="780"/>
        </pc:sldMkLst>
      </pc:sldChg>
      <pc:sldChg chg="del">
        <pc:chgData name="Hiram Fleitas" userId="461d7124ec7a38ad" providerId="LiveId" clId="{3663DC05-B761-4AF0-89BB-24376A01088A}" dt="2019-04-24T01:03:46.623" v="373" actId="2696"/>
        <pc:sldMkLst>
          <pc:docMk/>
          <pc:sldMk cId="1563734881" sldId="781"/>
        </pc:sldMkLst>
      </pc:sldChg>
      <pc:sldChg chg="del">
        <pc:chgData name="Hiram Fleitas" userId="461d7124ec7a38ad" providerId="LiveId" clId="{3663DC05-B761-4AF0-89BB-24376A01088A}" dt="2019-04-24T01:03:46.634" v="374" actId="2696"/>
        <pc:sldMkLst>
          <pc:docMk/>
          <pc:sldMk cId="2575002729" sldId="782"/>
        </pc:sldMkLst>
      </pc:sldChg>
      <pc:sldChg chg="del">
        <pc:chgData name="Hiram Fleitas" userId="461d7124ec7a38ad" providerId="LiveId" clId="{3663DC05-B761-4AF0-89BB-24376A01088A}" dt="2019-04-24T01:03:46.492" v="362" actId="2696"/>
        <pc:sldMkLst>
          <pc:docMk/>
          <pc:sldMk cId="508167540" sldId="783"/>
        </pc:sldMkLst>
      </pc:sldChg>
      <pc:sldChg chg="del">
        <pc:chgData name="Hiram Fleitas" userId="461d7124ec7a38ad" providerId="LiveId" clId="{3663DC05-B761-4AF0-89BB-24376A01088A}" dt="2019-04-24T01:03:39.909" v="351" actId="2696"/>
        <pc:sldMkLst>
          <pc:docMk/>
          <pc:sldMk cId="580635097" sldId="787"/>
        </pc:sldMkLst>
      </pc:sldChg>
      <pc:sldChg chg="del">
        <pc:chgData name="Hiram Fleitas" userId="461d7124ec7a38ad" providerId="LiveId" clId="{3663DC05-B761-4AF0-89BB-24376A01088A}" dt="2019-04-24T01:03:39.928" v="353" actId="2696"/>
        <pc:sldMkLst>
          <pc:docMk/>
          <pc:sldMk cId="3378046900" sldId="791"/>
        </pc:sldMkLst>
      </pc:sldChg>
      <pc:sldChg chg="del">
        <pc:chgData name="Hiram Fleitas" userId="461d7124ec7a38ad" providerId="LiveId" clId="{3663DC05-B761-4AF0-89BB-24376A01088A}" dt="2019-04-24T01:03:39.956" v="356" actId="2696"/>
        <pc:sldMkLst>
          <pc:docMk/>
          <pc:sldMk cId="2680822183" sldId="792"/>
        </pc:sldMkLst>
      </pc:sldChg>
      <pc:sldChg chg="del">
        <pc:chgData name="Hiram Fleitas" userId="461d7124ec7a38ad" providerId="LiveId" clId="{3663DC05-B761-4AF0-89BB-24376A01088A}" dt="2019-04-24T01:03:39.919" v="352" actId="2696"/>
        <pc:sldMkLst>
          <pc:docMk/>
          <pc:sldMk cId="3462522390" sldId="793"/>
        </pc:sldMkLst>
      </pc:sldChg>
      <pc:sldChg chg="del">
        <pc:chgData name="Hiram Fleitas" userId="461d7124ec7a38ad" providerId="LiveId" clId="{3663DC05-B761-4AF0-89BB-24376A01088A}" dt="2019-04-24T01:03:39.937" v="354" actId="2696"/>
        <pc:sldMkLst>
          <pc:docMk/>
          <pc:sldMk cId="1683732310" sldId="794"/>
        </pc:sldMkLst>
      </pc:sldChg>
      <pc:sldChg chg="del">
        <pc:chgData name="Hiram Fleitas" userId="461d7124ec7a38ad" providerId="LiveId" clId="{3663DC05-B761-4AF0-89BB-24376A01088A}" dt="2019-04-24T01:03:39.947" v="355" actId="2696"/>
        <pc:sldMkLst>
          <pc:docMk/>
          <pc:sldMk cId="752068140" sldId="795"/>
        </pc:sldMkLst>
      </pc:sldChg>
      <pc:sldChg chg="del">
        <pc:chgData name="Hiram Fleitas" userId="461d7124ec7a38ad" providerId="LiveId" clId="{3663DC05-B761-4AF0-89BB-24376A01088A}" dt="2019-04-24T01:03:39.968" v="357" actId="2696"/>
        <pc:sldMkLst>
          <pc:docMk/>
          <pc:sldMk cId="2173280881" sldId="796"/>
        </pc:sldMkLst>
      </pc:sldChg>
      <pc:sldChg chg="del">
        <pc:chgData name="Hiram Fleitas" userId="461d7124ec7a38ad" providerId="LiveId" clId="{3663DC05-B761-4AF0-89BB-24376A01088A}" dt="2019-04-24T01:03:39.900" v="350" actId="2696"/>
        <pc:sldMkLst>
          <pc:docMk/>
          <pc:sldMk cId="633592118" sldId="797"/>
        </pc:sldMkLst>
      </pc:sldChg>
      <pc:sldChg chg="del">
        <pc:chgData name="Hiram Fleitas" userId="461d7124ec7a38ad" providerId="LiveId" clId="{3663DC05-B761-4AF0-89BB-24376A01088A}" dt="2019-04-24T01:03:39.979" v="358" actId="2696"/>
        <pc:sldMkLst>
          <pc:docMk/>
          <pc:sldMk cId="4287644084" sldId="799"/>
        </pc:sldMkLst>
      </pc:sldChg>
      <pc:sldChg chg="del">
        <pc:chgData name="Hiram Fleitas" userId="461d7124ec7a38ad" providerId="LiveId" clId="{3663DC05-B761-4AF0-89BB-24376A01088A}" dt="2019-04-24T01:03:39.998" v="359" actId="2696"/>
        <pc:sldMkLst>
          <pc:docMk/>
          <pc:sldMk cId="1678437411" sldId="800"/>
        </pc:sldMkLst>
      </pc:sldChg>
      <pc:sldChg chg="del">
        <pc:chgData name="Hiram Fleitas" userId="461d7124ec7a38ad" providerId="LiveId" clId="{3663DC05-B761-4AF0-89BB-24376A01088A}" dt="2019-04-24T01:03:40.008" v="360" actId="2696"/>
        <pc:sldMkLst>
          <pc:docMk/>
          <pc:sldMk cId="1772101788" sldId="801"/>
        </pc:sldMkLst>
      </pc:sldChg>
      <pc:sldChg chg="del">
        <pc:chgData name="Hiram Fleitas" userId="461d7124ec7a38ad" providerId="LiveId" clId="{3663DC05-B761-4AF0-89BB-24376A01088A}" dt="2019-04-24T01:03:40.040" v="361" actId="2696"/>
        <pc:sldMkLst>
          <pc:docMk/>
          <pc:sldMk cId="3388052000" sldId="802"/>
        </pc:sldMkLst>
      </pc:sldChg>
      <pc:sldChg chg="del">
        <pc:chgData name="Hiram Fleitas" userId="461d7124ec7a38ad" providerId="LiveId" clId="{3663DC05-B761-4AF0-89BB-24376A01088A}" dt="2019-04-24T01:48:56.456" v="508" actId="2696"/>
        <pc:sldMkLst>
          <pc:docMk/>
          <pc:sldMk cId="3393088336" sldId="820"/>
        </pc:sldMkLst>
      </pc:sldChg>
      <pc:sldChg chg="modNotesTx">
        <pc:chgData name="Hiram Fleitas" userId="461d7124ec7a38ad" providerId="LiveId" clId="{3663DC05-B761-4AF0-89BB-24376A01088A}" dt="2019-04-24T01:47:36.952" v="504" actId="20577"/>
        <pc:sldMkLst>
          <pc:docMk/>
          <pc:sldMk cId="881483197" sldId="824"/>
        </pc:sldMkLst>
      </pc:sldChg>
      <pc:sldChg chg="del">
        <pc:chgData name="Hiram Fleitas" userId="461d7124ec7a38ad" providerId="LiveId" clId="{3663DC05-B761-4AF0-89BB-24376A01088A}" dt="2019-04-24T01:48:56.407" v="507" actId="2696"/>
        <pc:sldMkLst>
          <pc:docMk/>
          <pc:sldMk cId="3271595099" sldId="826"/>
        </pc:sldMkLst>
      </pc:sldChg>
      <pc:sldChg chg="del">
        <pc:chgData name="Hiram Fleitas" userId="461d7124ec7a38ad" providerId="LiveId" clId="{3663DC05-B761-4AF0-89BB-24376A01088A}" dt="2019-04-24T01:03:14.695" v="335" actId="2696"/>
        <pc:sldMkLst>
          <pc:docMk/>
          <pc:sldMk cId="2615025588" sldId="834"/>
        </pc:sldMkLst>
      </pc:sldChg>
      <pc:sldChg chg="del">
        <pc:chgData name="Hiram Fleitas" userId="461d7124ec7a38ad" providerId="LiveId" clId="{3663DC05-B761-4AF0-89BB-24376A01088A}" dt="2019-04-24T01:03:14.760" v="341" actId="2696"/>
        <pc:sldMkLst>
          <pc:docMk/>
          <pc:sldMk cId="2956051333" sldId="835"/>
        </pc:sldMkLst>
      </pc:sldChg>
      <pc:sldChg chg="del">
        <pc:chgData name="Hiram Fleitas" userId="461d7124ec7a38ad" providerId="LiveId" clId="{3663DC05-B761-4AF0-89BB-24376A01088A}" dt="2019-04-24T01:03:14.782" v="343" actId="2696"/>
        <pc:sldMkLst>
          <pc:docMk/>
          <pc:sldMk cId="1353628093" sldId="836"/>
        </pc:sldMkLst>
      </pc:sldChg>
      <pc:sldChg chg="del">
        <pc:chgData name="Hiram Fleitas" userId="461d7124ec7a38ad" providerId="LiveId" clId="{3663DC05-B761-4AF0-89BB-24376A01088A}" dt="2019-04-24T01:03:14.705" v="336" actId="2696"/>
        <pc:sldMkLst>
          <pc:docMk/>
          <pc:sldMk cId="546261619" sldId="838"/>
        </pc:sldMkLst>
      </pc:sldChg>
      <pc:sldChg chg="del">
        <pc:chgData name="Hiram Fleitas" userId="461d7124ec7a38ad" providerId="LiveId" clId="{3663DC05-B761-4AF0-89BB-24376A01088A}" dt="2019-04-24T01:03:14.716" v="337" actId="2696"/>
        <pc:sldMkLst>
          <pc:docMk/>
          <pc:sldMk cId="3713678307" sldId="839"/>
        </pc:sldMkLst>
      </pc:sldChg>
      <pc:sldChg chg="del">
        <pc:chgData name="Hiram Fleitas" userId="461d7124ec7a38ad" providerId="LiveId" clId="{3663DC05-B761-4AF0-89BB-24376A01088A}" dt="2019-04-24T01:03:14.726" v="338" actId="2696"/>
        <pc:sldMkLst>
          <pc:docMk/>
          <pc:sldMk cId="166227406" sldId="841"/>
        </pc:sldMkLst>
      </pc:sldChg>
      <pc:sldChg chg="del">
        <pc:chgData name="Hiram Fleitas" userId="461d7124ec7a38ad" providerId="LiveId" clId="{3663DC05-B761-4AF0-89BB-24376A01088A}" dt="2019-04-24T01:03:14.735" v="339" actId="2696"/>
        <pc:sldMkLst>
          <pc:docMk/>
          <pc:sldMk cId="4205987989" sldId="842"/>
        </pc:sldMkLst>
      </pc:sldChg>
      <pc:sldChg chg="del">
        <pc:chgData name="Hiram Fleitas" userId="461d7124ec7a38ad" providerId="LiveId" clId="{3663DC05-B761-4AF0-89BB-24376A01088A}" dt="2019-04-24T01:03:14.748" v="340" actId="2696"/>
        <pc:sldMkLst>
          <pc:docMk/>
          <pc:sldMk cId="296655999" sldId="843"/>
        </pc:sldMkLst>
      </pc:sldChg>
      <pc:sldChg chg="del">
        <pc:chgData name="Hiram Fleitas" userId="461d7124ec7a38ad" providerId="LiveId" clId="{3663DC05-B761-4AF0-89BB-24376A01088A}" dt="2019-04-24T01:03:14.770" v="342" actId="2696"/>
        <pc:sldMkLst>
          <pc:docMk/>
          <pc:sldMk cId="641806034" sldId="844"/>
        </pc:sldMkLst>
      </pc:sldChg>
      <pc:sldChg chg="del">
        <pc:chgData name="Hiram Fleitas" userId="461d7124ec7a38ad" providerId="LiveId" clId="{3663DC05-B761-4AF0-89BB-24376A01088A}" dt="2019-04-24T01:03:14.793" v="344" actId="2696"/>
        <pc:sldMkLst>
          <pc:docMk/>
          <pc:sldMk cId="2902267535" sldId="846"/>
        </pc:sldMkLst>
      </pc:sldChg>
      <pc:sldChg chg="del">
        <pc:chgData name="Hiram Fleitas" userId="461d7124ec7a38ad" providerId="LiveId" clId="{3663DC05-B761-4AF0-89BB-24376A01088A}" dt="2019-04-24T01:03:14.806" v="345" actId="2696"/>
        <pc:sldMkLst>
          <pc:docMk/>
          <pc:sldMk cId="3583082787" sldId="847"/>
        </pc:sldMkLst>
      </pc:sldChg>
      <pc:sldChg chg="del">
        <pc:chgData name="Hiram Fleitas" userId="461d7124ec7a38ad" providerId="LiveId" clId="{3663DC05-B761-4AF0-89BB-24376A01088A}" dt="2019-04-24T01:03:14.685" v="334" actId="2696"/>
        <pc:sldMkLst>
          <pc:docMk/>
          <pc:sldMk cId="1248577175" sldId="848"/>
        </pc:sldMkLst>
      </pc:sldChg>
      <pc:sldChg chg="del">
        <pc:chgData name="Hiram Fleitas" userId="461d7124ec7a38ad" providerId="LiveId" clId="{3663DC05-B761-4AF0-89BB-24376A01088A}" dt="2019-04-24T01:03:00.281" v="328" actId="2696"/>
        <pc:sldMkLst>
          <pc:docMk/>
          <pc:sldMk cId="312599320" sldId="859"/>
        </pc:sldMkLst>
      </pc:sldChg>
      <pc:sldChg chg="del">
        <pc:chgData name="Hiram Fleitas" userId="461d7124ec7a38ad" providerId="LiveId" clId="{3663DC05-B761-4AF0-89BB-24376A01088A}" dt="2019-04-24T01:03:14.820" v="346" actId="2696"/>
        <pc:sldMkLst>
          <pc:docMk/>
          <pc:sldMk cId="819267255" sldId="868"/>
        </pc:sldMkLst>
      </pc:sldChg>
      <pc:sldChg chg="del">
        <pc:chgData name="Hiram Fleitas" userId="461d7124ec7a38ad" providerId="LiveId" clId="{3663DC05-B761-4AF0-89BB-24376A01088A}" dt="2019-04-24T01:03:14.832" v="347" actId="2696"/>
        <pc:sldMkLst>
          <pc:docMk/>
          <pc:sldMk cId="2354067549" sldId="869"/>
        </pc:sldMkLst>
      </pc:sldChg>
      <pc:sldChg chg="del">
        <pc:chgData name="Hiram Fleitas" userId="461d7124ec7a38ad" providerId="LiveId" clId="{3663DC05-B761-4AF0-89BB-24376A01088A}" dt="2019-04-24T01:03:14.874" v="349" actId="2696"/>
        <pc:sldMkLst>
          <pc:docMk/>
          <pc:sldMk cId="2047219567" sldId="870"/>
        </pc:sldMkLst>
      </pc:sldChg>
      <pc:sldChg chg="del">
        <pc:chgData name="Hiram Fleitas" userId="461d7124ec7a38ad" providerId="LiveId" clId="{3663DC05-B761-4AF0-89BB-24376A01088A}" dt="2019-04-24T01:03:14.845" v="348" actId="2696"/>
        <pc:sldMkLst>
          <pc:docMk/>
          <pc:sldMk cId="61003812" sldId="872"/>
        </pc:sldMkLst>
      </pc:sldChg>
      <pc:sldChg chg="del">
        <pc:chgData name="Hiram Fleitas" userId="461d7124ec7a38ad" providerId="LiveId" clId="{3663DC05-B761-4AF0-89BB-24376A01088A}" dt="2019-04-24T01:03:00.169" v="318" actId="2696"/>
        <pc:sldMkLst>
          <pc:docMk/>
          <pc:sldMk cId="322454047" sldId="874"/>
        </pc:sldMkLst>
      </pc:sldChg>
      <pc:sldChg chg="del">
        <pc:chgData name="Hiram Fleitas" userId="461d7124ec7a38ad" providerId="LiveId" clId="{3663DC05-B761-4AF0-89BB-24376A01088A}" dt="2019-04-24T01:03:00.216" v="322" actId="2696"/>
        <pc:sldMkLst>
          <pc:docMk/>
          <pc:sldMk cId="1872862316" sldId="875"/>
        </pc:sldMkLst>
      </pc:sldChg>
      <pc:sldChg chg="del">
        <pc:chgData name="Hiram Fleitas" userId="461d7124ec7a38ad" providerId="LiveId" clId="{3663DC05-B761-4AF0-89BB-24376A01088A}" dt="2019-04-24T01:03:00.272" v="327" actId="2696"/>
        <pc:sldMkLst>
          <pc:docMk/>
          <pc:sldMk cId="3131924041" sldId="876"/>
        </pc:sldMkLst>
      </pc:sldChg>
      <pc:sldChg chg="del">
        <pc:chgData name="Hiram Fleitas" userId="461d7124ec7a38ad" providerId="LiveId" clId="{3663DC05-B761-4AF0-89BB-24376A01088A}" dt="2019-04-24T01:03:00.039" v="308" actId="2696"/>
        <pc:sldMkLst>
          <pc:docMk/>
          <pc:sldMk cId="1035621312" sldId="893"/>
        </pc:sldMkLst>
      </pc:sldChg>
      <pc:sldChg chg="del">
        <pc:chgData name="Hiram Fleitas" userId="461d7124ec7a38ad" providerId="LiveId" clId="{3663DC05-B761-4AF0-89BB-24376A01088A}" dt="2019-04-24T01:03:00.053" v="309" actId="2696"/>
        <pc:sldMkLst>
          <pc:docMk/>
          <pc:sldMk cId="3107165677" sldId="894"/>
        </pc:sldMkLst>
      </pc:sldChg>
      <pc:sldChg chg="del">
        <pc:chgData name="Hiram Fleitas" userId="461d7124ec7a38ad" providerId="LiveId" clId="{3663DC05-B761-4AF0-89BB-24376A01088A}" dt="2019-04-24T01:03:00.067" v="310" actId="2696"/>
        <pc:sldMkLst>
          <pc:docMk/>
          <pc:sldMk cId="2396836483" sldId="895"/>
        </pc:sldMkLst>
      </pc:sldChg>
      <pc:sldChg chg="del">
        <pc:chgData name="Hiram Fleitas" userId="461d7124ec7a38ad" providerId="LiveId" clId="{3663DC05-B761-4AF0-89BB-24376A01088A}" dt="2019-04-24T01:03:00.079" v="311" actId="2696"/>
        <pc:sldMkLst>
          <pc:docMk/>
          <pc:sldMk cId="1223587631" sldId="896"/>
        </pc:sldMkLst>
      </pc:sldChg>
      <pc:sldChg chg="del">
        <pc:chgData name="Hiram Fleitas" userId="461d7124ec7a38ad" providerId="LiveId" clId="{3663DC05-B761-4AF0-89BB-24376A01088A}" dt="2019-04-24T01:03:00.092" v="312" actId="2696"/>
        <pc:sldMkLst>
          <pc:docMk/>
          <pc:sldMk cId="3394580099" sldId="897"/>
        </pc:sldMkLst>
      </pc:sldChg>
      <pc:sldChg chg="del">
        <pc:chgData name="Hiram Fleitas" userId="461d7124ec7a38ad" providerId="LiveId" clId="{3663DC05-B761-4AF0-89BB-24376A01088A}" dt="2019-04-24T01:03:00.107" v="313" actId="2696"/>
        <pc:sldMkLst>
          <pc:docMk/>
          <pc:sldMk cId="72076100" sldId="898"/>
        </pc:sldMkLst>
      </pc:sldChg>
      <pc:sldChg chg="del">
        <pc:chgData name="Hiram Fleitas" userId="461d7124ec7a38ad" providerId="LiveId" clId="{3663DC05-B761-4AF0-89BB-24376A01088A}" dt="2019-04-24T01:03:00.117" v="314" actId="2696"/>
        <pc:sldMkLst>
          <pc:docMk/>
          <pc:sldMk cId="3609928696" sldId="899"/>
        </pc:sldMkLst>
      </pc:sldChg>
      <pc:sldChg chg="del">
        <pc:chgData name="Hiram Fleitas" userId="461d7124ec7a38ad" providerId="LiveId" clId="{3663DC05-B761-4AF0-89BB-24376A01088A}" dt="2019-04-24T01:03:00.132" v="315" actId="2696"/>
        <pc:sldMkLst>
          <pc:docMk/>
          <pc:sldMk cId="1948642227" sldId="900"/>
        </pc:sldMkLst>
      </pc:sldChg>
      <pc:sldChg chg="del">
        <pc:chgData name="Hiram Fleitas" userId="461d7124ec7a38ad" providerId="LiveId" clId="{3663DC05-B761-4AF0-89BB-24376A01088A}" dt="2019-04-24T01:03:00.144" v="316" actId="2696"/>
        <pc:sldMkLst>
          <pc:docMk/>
          <pc:sldMk cId="2026748099" sldId="901"/>
        </pc:sldMkLst>
      </pc:sldChg>
      <pc:sldChg chg="del">
        <pc:chgData name="Hiram Fleitas" userId="461d7124ec7a38ad" providerId="LiveId" clId="{3663DC05-B761-4AF0-89BB-24376A01088A}" dt="2019-04-24T01:03:00.154" v="317" actId="2696"/>
        <pc:sldMkLst>
          <pc:docMk/>
          <pc:sldMk cId="1295705347" sldId="902"/>
        </pc:sldMkLst>
      </pc:sldChg>
      <pc:sldChg chg="del">
        <pc:chgData name="Hiram Fleitas" userId="461d7124ec7a38ad" providerId="LiveId" clId="{3663DC05-B761-4AF0-89BB-24376A01088A}" dt="2019-04-24T01:03:00.181" v="319" actId="2696"/>
        <pc:sldMkLst>
          <pc:docMk/>
          <pc:sldMk cId="272034657" sldId="903"/>
        </pc:sldMkLst>
      </pc:sldChg>
      <pc:sldChg chg="del">
        <pc:chgData name="Hiram Fleitas" userId="461d7124ec7a38ad" providerId="LiveId" clId="{3663DC05-B761-4AF0-89BB-24376A01088A}" dt="2019-04-24T01:03:00.191" v="320" actId="2696"/>
        <pc:sldMkLst>
          <pc:docMk/>
          <pc:sldMk cId="4045351232" sldId="904"/>
        </pc:sldMkLst>
      </pc:sldChg>
      <pc:sldChg chg="del">
        <pc:chgData name="Hiram Fleitas" userId="461d7124ec7a38ad" providerId="LiveId" clId="{3663DC05-B761-4AF0-89BB-24376A01088A}" dt="2019-04-24T01:03:00.205" v="321" actId="2696"/>
        <pc:sldMkLst>
          <pc:docMk/>
          <pc:sldMk cId="2236047629" sldId="905"/>
        </pc:sldMkLst>
      </pc:sldChg>
      <pc:sldChg chg="del">
        <pc:chgData name="Hiram Fleitas" userId="461d7124ec7a38ad" providerId="LiveId" clId="{3663DC05-B761-4AF0-89BB-24376A01088A}" dt="2019-04-24T01:03:00.227" v="323" actId="2696"/>
        <pc:sldMkLst>
          <pc:docMk/>
          <pc:sldMk cId="3911573197" sldId="907"/>
        </pc:sldMkLst>
      </pc:sldChg>
      <pc:sldChg chg="del">
        <pc:chgData name="Hiram Fleitas" userId="461d7124ec7a38ad" providerId="LiveId" clId="{3663DC05-B761-4AF0-89BB-24376A01088A}" dt="2019-04-24T01:03:00.238" v="324" actId="2696"/>
        <pc:sldMkLst>
          <pc:docMk/>
          <pc:sldMk cId="156581073" sldId="908"/>
        </pc:sldMkLst>
      </pc:sldChg>
      <pc:sldChg chg="del">
        <pc:chgData name="Hiram Fleitas" userId="461d7124ec7a38ad" providerId="LiveId" clId="{3663DC05-B761-4AF0-89BB-24376A01088A}" dt="2019-04-24T01:03:00.248" v="325" actId="2696"/>
        <pc:sldMkLst>
          <pc:docMk/>
          <pc:sldMk cId="3926073369" sldId="909"/>
        </pc:sldMkLst>
      </pc:sldChg>
      <pc:sldChg chg="del">
        <pc:chgData name="Hiram Fleitas" userId="461d7124ec7a38ad" providerId="LiveId" clId="{3663DC05-B761-4AF0-89BB-24376A01088A}" dt="2019-04-24T01:03:00.258" v="326" actId="2696"/>
        <pc:sldMkLst>
          <pc:docMk/>
          <pc:sldMk cId="3115198938" sldId="910"/>
        </pc:sldMkLst>
      </pc:sldChg>
      <pc:sldChg chg="del">
        <pc:chgData name="Hiram Fleitas" userId="461d7124ec7a38ad" providerId="LiveId" clId="{3663DC05-B761-4AF0-89BB-24376A01088A}" dt="2019-04-24T01:03:00.315" v="331" actId="2696"/>
        <pc:sldMkLst>
          <pc:docMk/>
          <pc:sldMk cId="260969928" sldId="911"/>
        </pc:sldMkLst>
      </pc:sldChg>
      <pc:sldChg chg="del">
        <pc:chgData name="Hiram Fleitas" userId="461d7124ec7a38ad" providerId="LiveId" clId="{3663DC05-B761-4AF0-89BB-24376A01088A}" dt="2019-04-24T01:03:00.333" v="332" actId="2696"/>
        <pc:sldMkLst>
          <pc:docMk/>
          <pc:sldMk cId="3084789493" sldId="912"/>
        </pc:sldMkLst>
      </pc:sldChg>
      <pc:sldChg chg="del">
        <pc:chgData name="Hiram Fleitas" userId="461d7124ec7a38ad" providerId="LiveId" clId="{3663DC05-B761-4AF0-89BB-24376A01088A}" dt="2019-04-24T01:03:00.344" v="333" actId="2696"/>
        <pc:sldMkLst>
          <pc:docMk/>
          <pc:sldMk cId="3098488492" sldId="913"/>
        </pc:sldMkLst>
      </pc:sldChg>
      <pc:sldChg chg="del">
        <pc:chgData name="Hiram Fleitas" userId="461d7124ec7a38ad" providerId="LiveId" clId="{3663DC05-B761-4AF0-89BB-24376A01088A}" dt="2019-04-24T01:03:00.292" v="329" actId="2696"/>
        <pc:sldMkLst>
          <pc:docMk/>
          <pc:sldMk cId="3972205901" sldId="917"/>
        </pc:sldMkLst>
      </pc:sldChg>
      <pc:sldChg chg="del">
        <pc:chgData name="Hiram Fleitas" userId="461d7124ec7a38ad" providerId="LiveId" clId="{3663DC05-B761-4AF0-89BB-24376A01088A}" dt="2019-04-24T01:03:00.305" v="330" actId="2696"/>
        <pc:sldMkLst>
          <pc:docMk/>
          <pc:sldMk cId="3509898378" sldId="918"/>
        </pc:sldMkLst>
      </pc:sldChg>
      <pc:sldChg chg="del">
        <pc:chgData name="Hiram Fleitas" userId="461d7124ec7a38ad" providerId="LiveId" clId="{3663DC05-B761-4AF0-89BB-24376A01088A}" dt="2019-04-24T01:02:46.880" v="296" actId="2696"/>
        <pc:sldMkLst>
          <pc:docMk/>
          <pc:sldMk cId="1256562765" sldId="919"/>
        </pc:sldMkLst>
      </pc:sldChg>
      <pc:sldChg chg="del">
        <pc:chgData name="Hiram Fleitas" userId="461d7124ec7a38ad" providerId="LiveId" clId="{3663DC05-B761-4AF0-89BB-24376A01088A}" dt="2019-04-24T01:02:46.897" v="297" actId="2696"/>
        <pc:sldMkLst>
          <pc:docMk/>
          <pc:sldMk cId="572945502" sldId="920"/>
        </pc:sldMkLst>
      </pc:sldChg>
      <pc:sldChg chg="del">
        <pc:chgData name="Hiram Fleitas" userId="461d7124ec7a38ad" providerId="LiveId" clId="{3663DC05-B761-4AF0-89BB-24376A01088A}" dt="2019-04-24T01:02:46.930" v="298" actId="2696"/>
        <pc:sldMkLst>
          <pc:docMk/>
          <pc:sldMk cId="1640754747" sldId="921"/>
        </pc:sldMkLst>
      </pc:sldChg>
      <pc:sldChg chg="del">
        <pc:chgData name="Hiram Fleitas" userId="461d7124ec7a38ad" providerId="LiveId" clId="{3663DC05-B761-4AF0-89BB-24376A01088A}" dt="2019-04-24T01:02:47.003" v="299" actId="2696"/>
        <pc:sldMkLst>
          <pc:docMk/>
          <pc:sldMk cId="1533533080" sldId="922"/>
        </pc:sldMkLst>
      </pc:sldChg>
      <pc:sldChg chg="del">
        <pc:chgData name="Hiram Fleitas" userId="461d7124ec7a38ad" providerId="LiveId" clId="{3663DC05-B761-4AF0-89BB-24376A01088A}" dt="2019-04-24T01:02:47.048" v="300" actId="2696"/>
        <pc:sldMkLst>
          <pc:docMk/>
          <pc:sldMk cId="1393886360" sldId="923"/>
        </pc:sldMkLst>
      </pc:sldChg>
      <pc:sldChg chg="del">
        <pc:chgData name="Hiram Fleitas" userId="461d7124ec7a38ad" providerId="LiveId" clId="{3663DC05-B761-4AF0-89BB-24376A01088A}" dt="2019-04-24T01:02:47.127" v="301" actId="2696"/>
        <pc:sldMkLst>
          <pc:docMk/>
          <pc:sldMk cId="2162994492" sldId="924"/>
        </pc:sldMkLst>
      </pc:sldChg>
      <pc:sldChg chg="del">
        <pc:chgData name="Hiram Fleitas" userId="461d7124ec7a38ad" providerId="LiveId" clId="{3663DC05-B761-4AF0-89BB-24376A01088A}" dt="2019-04-24T01:02:47.172" v="302" actId="2696"/>
        <pc:sldMkLst>
          <pc:docMk/>
          <pc:sldMk cId="1799736488" sldId="925"/>
        </pc:sldMkLst>
      </pc:sldChg>
      <pc:sldChg chg="del">
        <pc:chgData name="Hiram Fleitas" userId="461d7124ec7a38ad" providerId="LiveId" clId="{3663DC05-B761-4AF0-89BB-24376A01088A}" dt="2019-04-24T01:02:47.255" v="303" actId="2696"/>
        <pc:sldMkLst>
          <pc:docMk/>
          <pc:sldMk cId="250253071" sldId="926"/>
        </pc:sldMkLst>
      </pc:sldChg>
      <pc:sldChg chg="del">
        <pc:chgData name="Hiram Fleitas" userId="461d7124ec7a38ad" providerId="LiveId" clId="{3663DC05-B761-4AF0-89BB-24376A01088A}" dt="2019-04-24T01:02:47.297" v="304" actId="2696"/>
        <pc:sldMkLst>
          <pc:docMk/>
          <pc:sldMk cId="3242810258" sldId="927"/>
        </pc:sldMkLst>
      </pc:sldChg>
      <pc:sldChg chg="del">
        <pc:chgData name="Hiram Fleitas" userId="461d7124ec7a38ad" providerId="LiveId" clId="{3663DC05-B761-4AF0-89BB-24376A01088A}" dt="2019-04-24T01:02:47.343" v="305" actId="2696"/>
        <pc:sldMkLst>
          <pc:docMk/>
          <pc:sldMk cId="1411151222" sldId="928"/>
        </pc:sldMkLst>
      </pc:sldChg>
      <pc:sldChg chg="del">
        <pc:chgData name="Hiram Fleitas" userId="461d7124ec7a38ad" providerId="LiveId" clId="{3663DC05-B761-4AF0-89BB-24376A01088A}" dt="2019-04-24T01:02:47.389" v="306" actId="2696"/>
        <pc:sldMkLst>
          <pc:docMk/>
          <pc:sldMk cId="1338995871" sldId="929"/>
        </pc:sldMkLst>
      </pc:sldChg>
      <pc:sldChg chg="del">
        <pc:chgData name="Hiram Fleitas" userId="461d7124ec7a38ad" providerId="LiveId" clId="{3663DC05-B761-4AF0-89BB-24376A01088A}" dt="2019-04-24T01:03:00.023" v="307" actId="2696"/>
        <pc:sldMkLst>
          <pc:docMk/>
          <pc:sldMk cId="2825248660" sldId="930"/>
        </pc:sldMkLst>
      </pc:sldChg>
      <pc:sldChg chg="addSp delSp">
        <pc:chgData name="Hiram Fleitas" userId="461d7124ec7a38ad" providerId="LiveId" clId="{3663DC05-B761-4AF0-89BB-24376A01088A}" dt="2019-04-24T00:29:46.948" v="196"/>
        <pc:sldMkLst>
          <pc:docMk/>
          <pc:sldMk cId="2868298326" sldId="937"/>
        </pc:sldMkLst>
        <pc:grpChg chg="add del">
          <ac:chgData name="Hiram Fleitas" userId="461d7124ec7a38ad" providerId="LiveId" clId="{3663DC05-B761-4AF0-89BB-24376A01088A}" dt="2019-04-24T00:29:46.425" v="195" actId="478"/>
          <ac:grpSpMkLst>
            <pc:docMk/>
            <pc:sldMk cId="2868298326" sldId="937"/>
            <ac:grpSpMk id="7" creationId="{12A34837-2684-403D-AC55-CB1F4B305CD1}"/>
          </ac:grpSpMkLst>
        </pc:grpChg>
        <pc:grpChg chg="add">
          <ac:chgData name="Hiram Fleitas" userId="461d7124ec7a38ad" providerId="LiveId" clId="{3663DC05-B761-4AF0-89BB-24376A01088A}" dt="2019-04-24T00:29:46.948" v="196"/>
          <ac:grpSpMkLst>
            <pc:docMk/>
            <pc:sldMk cId="2868298326" sldId="937"/>
            <ac:grpSpMk id="11" creationId="{391FA237-6D23-43E1-B428-4BEFA3B8E1DE}"/>
          </ac:grpSpMkLst>
        </pc:grpChg>
        <pc:picChg chg="del">
          <ac:chgData name="Hiram Fleitas" userId="461d7124ec7a38ad" providerId="LiveId" clId="{3663DC05-B761-4AF0-89BB-24376A01088A}" dt="2019-04-24T00:25:20.618" v="128" actId="478"/>
          <ac:picMkLst>
            <pc:docMk/>
            <pc:sldMk cId="2868298326" sldId="937"/>
            <ac:picMk id="14" creationId="{80A795DB-9961-4775-8663-084729700781}"/>
          </ac:picMkLst>
        </pc:picChg>
      </pc:sldChg>
      <pc:sldChg chg="addSp delSp">
        <pc:chgData name="Hiram Fleitas" userId="461d7124ec7a38ad" providerId="LiveId" clId="{3663DC05-B761-4AF0-89BB-24376A01088A}" dt="2019-04-24T00:29:37.659" v="194"/>
        <pc:sldMkLst>
          <pc:docMk/>
          <pc:sldMk cId="3157100967" sldId="938"/>
        </pc:sldMkLst>
        <pc:grpChg chg="add del">
          <ac:chgData name="Hiram Fleitas" userId="461d7124ec7a38ad" providerId="LiveId" clId="{3663DC05-B761-4AF0-89BB-24376A01088A}" dt="2019-04-24T00:29:37.177" v="193" actId="478"/>
          <ac:grpSpMkLst>
            <pc:docMk/>
            <pc:sldMk cId="3157100967" sldId="938"/>
            <ac:grpSpMk id="13" creationId="{578E6399-DB56-4D99-89BB-3955CB446E7A}"/>
          </ac:grpSpMkLst>
        </pc:grpChg>
        <pc:grpChg chg="add">
          <ac:chgData name="Hiram Fleitas" userId="461d7124ec7a38ad" providerId="LiveId" clId="{3663DC05-B761-4AF0-89BB-24376A01088A}" dt="2019-04-24T00:29:37.659" v="194"/>
          <ac:grpSpMkLst>
            <pc:docMk/>
            <pc:sldMk cId="3157100967" sldId="938"/>
            <ac:grpSpMk id="20" creationId="{1FC7A4DF-74D4-4CF5-BB4E-B5CAA7565CD4}"/>
          </ac:grpSpMkLst>
        </pc:grpChg>
        <pc:picChg chg="del">
          <ac:chgData name="Hiram Fleitas" userId="461d7124ec7a38ad" providerId="LiveId" clId="{3663DC05-B761-4AF0-89BB-24376A01088A}" dt="2019-04-24T00:25:26.145" v="130" actId="478"/>
          <ac:picMkLst>
            <pc:docMk/>
            <pc:sldMk cId="3157100967" sldId="938"/>
            <ac:picMk id="22" creationId="{D0217A04-E1E7-4F9D-A711-2CDC28B84B85}"/>
          </ac:picMkLst>
        </pc:picChg>
      </pc:sldChg>
      <pc:sldChg chg="addSp delSp">
        <pc:chgData name="Hiram Fleitas" userId="461d7124ec7a38ad" providerId="LiveId" clId="{3663DC05-B761-4AF0-89BB-24376A01088A}" dt="2019-04-24T00:28:52.501" v="182"/>
        <pc:sldMkLst>
          <pc:docMk/>
          <pc:sldMk cId="2132952452" sldId="941"/>
        </pc:sldMkLst>
        <pc:grpChg chg="add del">
          <ac:chgData name="Hiram Fleitas" userId="461d7124ec7a38ad" providerId="LiveId" clId="{3663DC05-B761-4AF0-89BB-24376A01088A}" dt="2019-04-24T00:28:52.137" v="181" actId="478"/>
          <ac:grpSpMkLst>
            <pc:docMk/>
            <pc:sldMk cId="2132952452" sldId="941"/>
            <ac:grpSpMk id="6" creationId="{EF67589D-C51D-4A65-BEEC-C106A1C05290}"/>
          </ac:grpSpMkLst>
        </pc:grpChg>
        <pc:grpChg chg="add">
          <ac:chgData name="Hiram Fleitas" userId="461d7124ec7a38ad" providerId="LiveId" clId="{3663DC05-B761-4AF0-89BB-24376A01088A}" dt="2019-04-24T00:28:52.501" v="182"/>
          <ac:grpSpMkLst>
            <pc:docMk/>
            <pc:sldMk cId="2132952452" sldId="941"/>
            <ac:grpSpMk id="10" creationId="{5AA7421A-9ABE-4EE4-B0E0-E852441478C9}"/>
          </ac:grpSpMkLst>
        </pc:grpChg>
        <pc:picChg chg="del">
          <ac:chgData name="Hiram Fleitas" userId="461d7124ec7a38ad" providerId="LiveId" clId="{3663DC05-B761-4AF0-89BB-24376A01088A}" dt="2019-04-24T00:26:07.230" v="141" actId="478"/>
          <ac:picMkLst>
            <pc:docMk/>
            <pc:sldMk cId="2132952452" sldId="941"/>
            <ac:picMk id="13" creationId="{A03092E1-B5EA-4DFF-9459-CB9DE4FD5B7F}"/>
          </ac:picMkLst>
        </pc:picChg>
      </pc:sldChg>
      <pc:sldChg chg="addSp delSp">
        <pc:chgData name="Hiram Fleitas" userId="461d7124ec7a38ad" providerId="LiveId" clId="{3663DC05-B761-4AF0-89BB-24376A01088A}" dt="2019-04-24T00:28:47.589" v="180"/>
        <pc:sldMkLst>
          <pc:docMk/>
          <pc:sldMk cId="422149466" sldId="942"/>
        </pc:sldMkLst>
        <pc:grpChg chg="add del">
          <ac:chgData name="Hiram Fleitas" userId="461d7124ec7a38ad" providerId="LiveId" clId="{3663DC05-B761-4AF0-89BB-24376A01088A}" dt="2019-04-24T00:28:47.193" v="179" actId="478"/>
          <ac:grpSpMkLst>
            <pc:docMk/>
            <pc:sldMk cId="422149466" sldId="942"/>
            <ac:grpSpMk id="6" creationId="{5AF9C952-0E13-4C8D-8BC6-EC89CFC5598E}"/>
          </ac:grpSpMkLst>
        </pc:grpChg>
        <pc:grpChg chg="add">
          <ac:chgData name="Hiram Fleitas" userId="461d7124ec7a38ad" providerId="LiveId" clId="{3663DC05-B761-4AF0-89BB-24376A01088A}" dt="2019-04-24T00:28:47.589" v="180"/>
          <ac:grpSpMkLst>
            <pc:docMk/>
            <pc:sldMk cId="422149466" sldId="942"/>
            <ac:grpSpMk id="10" creationId="{D4158F1B-BAA1-428D-A18E-62FC92378EE2}"/>
          </ac:grpSpMkLst>
        </pc:grpChg>
        <pc:picChg chg="del">
          <ac:chgData name="Hiram Fleitas" userId="461d7124ec7a38ad" providerId="LiveId" clId="{3663DC05-B761-4AF0-89BB-24376A01088A}" dt="2019-04-24T00:26:22.198" v="143" actId="478"/>
          <ac:picMkLst>
            <pc:docMk/>
            <pc:sldMk cId="422149466" sldId="942"/>
            <ac:picMk id="13" creationId="{AB797AD6-7507-49EA-8B6D-F8DD6B134F8A}"/>
          </ac:picMkLst>
        </pc:picChg>
      </pc:sldChg>
      <pc:sldChg chg="addSp delSp">
        <pc:chgData name="Hiram Fleitas" userId="461d7124ec7a38ad" providerId="LiveId" clId="{3663DC05-B761-4AF0-89BB-24376A01088A}" dt="2019-04-24T00:28:42.821" v="178"/>
        <pc:sldMkLst>
          <pc:docMk/>
          <pc:sldMk cId="3660474804" sldId="943"/>
        </pc:sldMkLst>
        <pc:grpChg chg="add del">
          <ac:chgData name="Hiram Fleitas" userId="461d7124ec7a38ad" providerId="LiveId" clId="{3663DC05-B761-4AF0-89BB-24376A01088A}" dt="2019-04-24T00:28:42.425" v="177" actId="478"/>
          <ac:grpSpMkLst>
            <pc:docMk/>
            <pc:sldMk cId="3660474804" sldId="943"/>
            <ac:grpSpMk id="6" creationId="{BDABF92A-6444-4C42-B9C0-E93771CFF5BF}"/>
          </ac:grpSpMkLst>
        </pc:grpChg>
        <pc:grpChg chg="add">
          <ac:chgData name="Hiram Fleitas" userId="461d7124ec7a38ad" providerId="LiveId" clId="{3663DC05-B761-4AF0-89BB-24376A01088A}" dt="2019-04-24T00:28:42.821" v="178"/>
          <ac:grpSpMkLst>
            <pc:docMk/>
            <pc:sldMk cId="3660474804" sldId="943"/>
            <ac:grpSpMk id="10" creationId="{E1D04EBE-6C92-446B-A7FB-3792AE6FCC83}"/>
          </ac:grpSpMkLst>
        </pc:grpChg>
        <pc:picChg chg="del">
          <ac:chgData name="Hiram Fleitas" userId="461d7124ec7a38ad" providerId="LiveId" clId="{3663DC05-B761-4AF0-89BB-24376A01088A}" dt="2019-04-24T00:26:27.783" v="145" actId="478"/>
          <ac:picMkLst>
            <pc:docMk/>
            <pc:sldMk cId="3660474804" sldId="943"/>
            <ac:picMk id="13" creationId="{D0EC1CCB-FFEF-4D55-957F-8DE4AAD9F53A}"/>
          </ac:picMkLst>
        </pc:picChg>
      </pc:sldChg>
      <pc:sldChg chg="addSp delSp">
        <pc:chgData name="Hiram Fleitas" userId="461d7124ec7a38ad" providerId="LiveId" clId="{3663DC05-B761-4AF0-89BB-24376A01088A}" dt="2019-04-24T00:28:32.869" v="176"/>
        <pc:sldMkLst>
          <pc:docMk/>
          <pc:sldMk cId="2855375308" sldId="944"/>
        </pc:sldMkLst>
        <pc:grpChg chg="add del">
          <ac:chgData name="Hiram Fleitas" userId="461d7124ec7a38ad" providerId="LiveId" clId="{3663DC05-B761-4AF0-89BB-24376A01088A}" dt="2019-04-24T00:28:32.521" v="175" actId="478"/>
          <ac:grpSpMkLst>
            <pc:docMk/>
            <pc:sldMk cId="2855375308" sldId="944"/>
            <ac:grpSpMk id="6" creationId="{53430484-8EE0-44BA-BF7B-81B6AA6F215E}"/>
          </ac:grpSpMkLst>
        </pc:grpChg>
        <pc:grpChg chg="add">
          <ac:chgData name="Hiram Fleitas" userId="461d7124ec7a38ad" providerId="LiveId" clId="{3663DC05-B761-4AF0-89BB-24376A01088A}" dt="2019-04-24T00:28:32.869" v="176"/>
          <ac:grpSpMkLst>
            <pc:docMk/>
            <pc:sldMk cId="2855375308" sldId="944"/>
            <ac:grpSpMk id="10" creationId="{1B5AE1B0-6E08-4BD8-84E2-C846186BF2C8}"/>
          </ac:grpSpMkLst>
        </pc:grpChg>
        <pc:picChg chg="del">
          <ac:chgData name="Hiram Fleitas" userId="461d7124ec7a38ad" providerId="LiveId" clId="{3663DC05-B761-4AF0-89BB-24376A01088A}" dt="2019-04-24T00:26:37.006" v="147" actId="478"/>
          <ac:picMkLst>
            <pc:docMk/>
            <pc:sldMk cId="2855375308" sldId="944"/>
            <ac:picMk id="13" creationId="{23B1BFF6-BB8E-414B-9440-C156C06AEAD9}"/>
          </ac:picMkLst>
        </pc:picChg>
      </pc:sldChg>
      <pc:sldChg chg="addSp delSp">
        <pc:chgData name="Hiram Fleitas" userId="461d7124ec7a38ad" providerId="LiveId" clId="{3663DC05-B761-4AF0-89BB-24376A01088A}" dt="2019-04-24T00:28:27.941" v="174"/>
        <pc:sldMkLst>
          <pc:docMk/>
          <pc:sldMk cId="1628316798" sldId="945"/>
        </pc:sldMkLst>
        <pc:grpChg chg="add del">
          <ac:chgData name="Hiram Fleitas" userId="461d7124ec7a38ad" providerId="LiveId" clId="{3663DC05-B761-4AF0-89BB-24376A01088A}" dt="2019-04-24T00:28:27.617" v="173" actId="478"/>
          <ac:grpSpMkLst>
            <pc:docMk/>
            <pc:sldMk cId="1628316798" sldId="945"/>
            <ac:grpSpMk id="6" creationId="{037699F9-5231-4C2B-A0CB-7A962E03BBF2}"/>
          </ac:grpSpMkLst>
        </pc:grpChg>
        <pc:grpChg chg="add">
          <ac:chgData name="Hiram Fleitas" userId="461d7124ec7a38ad" providerId="LiveId" clId="{3663DC05-B761-4AF0-89BB-24376A01088A}" dt="2019-04-24T00:28:27.941" v="174"/>
          <ac:grpSpMkLst>
            <pc:docMk/>
            <pc:sldMk cId="1628316798" sldId="945"/>
            <ac:grpSpMk id="10" creationId="{708CD916-327B-4540-A3E4-CE3C72626757}"/>
          </ac:grpSpMkLst>
        </pc:grpChg>
        <pc:picChg chg="del">
          <ac:chgData name="Hiram Fleitas" userId="461d7124ec7a38ad" providerId="LiveId" clId="{3663DC05-B761-4AF0-89BB-24376A01088A}" dt="2019-04-24T00:26:41.625" v="149" actId="478"/>
          <ac:picMkLst>
            <pc:docMk/>
            <pc:sldMk cId="1628316798" sldId="945"/>
            <ac:picMk id="13" creationId="{503EDCF5-97B5-4315-8DA8-BCF49560C9A7}"/>
          </ac:picMkLst>
        </pc:picChg>
      </pc:sldChg>
      <pc:sldChg chg="addSp delSp">
        <pc:chgData name="Hiram Fleitas" userId="461d7124ec7a38ad" providerId="LiveId" clId="{3663DC05-B761-4AF0-89BB-24376A01088A}" dt="2019-04-24T00:28:23.964" v="172"/>
        <pc:sldMkLst>
          <pc:docMk/>
          <pc:sldMk cId="2213798299" sldId="946"/>
        </pc:sldMkLst>
        <pc:grpChg chg="add del">
          <ac:chgData name="Hiram Fleitas" userId="461d7124ec7a38ad" providerId="LiveId" clId="{3663DC05-B761-4AF0-89BB-24376A01088A}" dt="2019-04-24T00:27:32.096" v="161" actId="478"/>
          <ac:grpSpMkLst>
            <pc:docMk/>
            <pc:sldMk cId="2213798299" sldId="946"/>
            <ac:grpSpMk id="6" creationId="{FCA28FF7-88EF-4D2D-83AE-6F3E6E373C56}"/>
          </ac:grpSpMkLst>
        </pc:grpChg>
        <pc:grpChg chg="add">
          <ac:chgData name="Hiram Fleitas" userId="461d7124ec7a38ad" providerId="LiveId" clId="{3663DC05-B761-4AF0-89BB-24376A01088A}" dt="2019-04-24T00:28:23.964" v="172"/>
          <ac:grpSpMkLst>
            <pc:docMk/>
            <pc:sldMk cId="2213798299" sldId="946"/>
            <ac:grpSpMk id="10" creationId="{B01D6298-26F9-4761-9045-441E1A91D642}"/>
          </ac:grpSpMkLst>
        </pc:grpChg>
        <pc:picChg chg="del">
          <ac:chgData name="Hiram Fleitas" userId="461d7124ec7a38ad" providerId="LiveId" clId="{3663DC05-B761-4AF0-89BB-24376A01088A}" dt="2019-04-24T00:26:45.953" v="151" actId="478"/>
          <ac:picMkLst>
            <pc:docMk/>
            <pc:sldMk cId="2213798299" sldId="946"/>
            <ac:picMk id="13" creationId="{8D17FD36-D7C1-49E6-BAD4-714A0601BC85}"/>
          </ac:picMkLst>
        </pc:picChg>
      </pc:sldChg>
      <pc:sldChg chg="addSp delSp">
        <pc:chgData name="Hiram Fleitas" userId="461d7124ec7a38ad" providerId="LiveId" clId="{3663DC05-B761-4AF0-89BB-24376A01088A}" dt="2019-04-24T00:29:24.906" v="192"/>
        <pc:sldMkLst>
          <pc:docMk/>
          <pc:sldMk cId="2489766288" sldId="947"/>
        </pc:sldMkLst>
        <pc:grpChg chg="add del">
          <ac:chgData name="Hiram Fleitas" userId="461d7124ec7a38ad" providerId="LiveId" clId="{3663DC05-B761-4AF0-89BB-24376A01088A}" dt="2019-04-24T00:29:24.470" v="191" actId="478"/>
          <ac:grpSpMkLst>
            <pc:docMk/>
            <pc:sldMk cId="2489766288" sldId="947"/>
            <ac:grpSpMk id="13" creationId="{1C5AE7C6-6327-46DE-9C41-CB0115CB268E}"/>
          </ac:grpSpMkLst>
        </pc:grpChg>
        <pc:grpChg chg="add">
          <ac:chgData name="Hiram Fleitas" userId="461d7124ec7a38ad" providerId="LiveId" clId="{3663DC05-B761-4AF0-89BB-24376A01088A}" dt="2019-04-24T00:29:24.906" v="192"/>
          <ac:grpSpMkLst>
            <pc:docMk/>
            <pc:sldMk cId="2489766288" sldId="947"/>
            <ac:grpSpMk id="22" creationId="{F8457A0C-D7D7-491F-B8C8-47728D1C61A9}"/>
          </ac:grpSpMkLst>
        </pc:grpChg>
        <pc:picChg chg="del">
          <ac:chgData name="Hiram Fleitas" userId="461d7124ec7a38ad" providerId="LiveId" clId="{3663DC05-B761-4AF0-89BB-24376A01088A}" dt="2019-04-24T00:25:30.682" v="132" actId="478"/>
          <ac:picMkLst>
            <pc:docMk/>
            <pc:sldMk cId="2489766288" sldId="947"/>
            <ac:picMk id="19" creationId="{1752F875-612A-4505-BEE4-E95B926616B8}"/>
          </ac:picMkLst>
        </pc:picChg>
      </pc:sldChg>
      <pc:sldChg chg="addSp delSp">
        <pc:chgData name="Hiram Fleitas" userId="461d7124ec7a38ad" providerId="LiveId" clId="{3663DC05-B761-4AF0-89BB-24376A01088A}" dt="2019-04-24T00:28:03.881" v="166"/>
        <pc:sldMkLst>
          <pc:docMk/>
          <pc:sldMk cId="1682049604" sldId="948"/>
        </pc:sldMkLst>
        <pc:grpChg chg="add del">
          <ac:chgData name="Hiram Fleitas" userId="461d7124ec7a38ad" providerId="LiveId" clId="{3663DC05-B761-4AF0-89BB-24376A01088A}" dt="2019-04-24T00:27:41.449" v="163" actId="478"/>
          <ac:grpSpMkLst>
            <pc:docMk/>
            <pc:sldMk cId="1682049604" sldId="948"/>
            <ac:grpSpMk id="5" creationId="{31B6D60C-90B8-4A0F-BF34-F8F23F351E8F}"/>
          </ac:grpSpMkLst>
        </pc:grpChg>
        <pc:grpChg chg="add">
          <ac:chgData name="Hiram Fleitas" userId="461d7124ec7a38ad" providerId="LiveId" clId="{3663DC05-B761-4AF0-89BB-24376A01088A}" dt="2019-04-24T00:28:03.881" v="166"/>
          <ac:grpSpMkLst>
            <pc:docMk/>
            <pc:sldMk cId="1682049604" sldId="948"/>
            <ac:grpSpMk id="9" creationId="{0DA11198-81EE-4B81-BBD4-2B04D5FAD663}"/>
          </ac:grpSpMkLst>
        </pc:grpChg>
        <pc:picChg chg="del">
          <ac:chgData name="Hiram Fleitas" userId="461d7124ec7a38ad" providerId="LiveId" clId="{3663DC05-B761-4AF0-89BB-24376A01088A}" dt="2019-04-24T00:27:06.490" v="159" actId="478"/>
          <ac:picMkLst>
            <pc:docMk/>
            <pc:sldMk cId="1682049604" sldId="948"/>
            <ac:picMk id="12" creationId="{218BADB7-B8D9-4FC5-8808-D11356A04E40}"/>
          </ac:picMkLst>
        </pc:picChg>
      </pc:sldChg>
      <pc:sldChg chg="addSp delSp modSp add del">
        <pc:chgData name="Hiram Fleitas" userId="461d7124ec7a38ad" providerId="LiveId" clId="{3663DC05-B761-4AF0-89BB-24376A01088A}" dt="2019-04-24T00:24:28.843" v="113" actId="2696"/>
        <pc:sldMkLst>
          <pc:docMk/>
          <pc:sldMk cId="1019335925" sldId="949"/>
        </pc:sldMkLst>
        <pc:spChg chg="del">
          <ac:chgData name="Hiram Fleitas" userId="461d7124ec7a38ad" providerId="LiveId" clId="{3663DC05-B761-4AF0-89BB-24376A01088A}" dt="2019-04-24T00:17:43.013" v="55" actId="478"/>
          <ac:spMkLst>
            <pc:docMk/>
            <pc:sldMk cId="1019335925" sldId="949"/>
            <ac:spMk id="2" creationId="{47778E71-6827-4E06-9DDB-A0BFBFC7C973}"/>
          </ac:spMkLst>
        </pc:spChg>
        <pc:spChg chg="add del mod">
          <ac:chgData name="Hiram Fleitas" userId="461d7124ec7a38ad" providerId="LiveId" clId="{3663DC05-B761-4AF0-89BB-24376A01088A}" dt="2019-04-24T00:17:45.059" v="56" actId="478"/>
          <ac:spMkLst>
            <pc:docMk/>
            <pc:sldMk cId="1019335925" sldId="949"/>
            <ac:spMk id="4" creationId="{A5A8D809-4C72-4CA4-A1DB-263429C595E6}"/>
          </ac:spMkLst>
        </pc:spChg>
        <pc:grpChg chg="add del mod">
          <ac:chgData name="Hiram Fleitas" userId="461d7124ec7a38ad" providerId="LiveId" clId="{3663DC05-B761-4AF0-89BB-24376A01088A}" dt="2019-04-24T00:22:57.709" v="106" actId="478"/>
          <ac:grpSpMkLst>
            <pc:docMk/>
            <pc:sldMk cId="1019335925" sldId="949"/>
            <ac:grpSpMk id="13" creationId="{28FCC335-FFE8-44A9-BD93-8E523CF52306}"/>
          </ac:grpSpMkLst>
        </pc:grpChg>
        <pc:grpChg chg="add del mod">
          <ac:chgData name="Hiram Fleitas" userId="461d7124ec7a38ad" providerId="LiveId" clId="{3663DC05-B761-4AF0-89BB-24376A01088A}" dt="2019-04-24T00:22:47.417" v="103"/>
          <ac:grpSpMkLst>
            <pc:docMk/>
            <pc:sldMk cId="1019335925" sldId="949"/>
            <ac:grpSpMk id="14" creationId="{FA4321F0-5B5F-40D6-8031-96072935A93E}"/>
          </ac:grpSpMkLst>
        </pc:grpChg>
        <pc:grpChg chg="add">
          <ac:chgData name="Hiram Fleitas" userId="461d7124ec7a38ad" providerId="LiveId" clId="{3663DC05-B761-4AF0-89BB-24376A01088A}" dt="2019-04-24T00:22:50.049" v="105"/>
          <ac:grpSpMkLst>
            <pc:docMk/>
            <pc:sldMk cId="1019335925" sldId="949"/>
            <ac:grpSpMk id="17" creationId="{1D22C173-F7AB-49D0-9764-B03B790198E9}"/>
          </ac:grpSpMkLst>
        </pc:grpChg>
        <pc:picChg chg="add del">
          <ac:chgData name="Hiram Fleitas" userId="461d7124ec7a38ad" providerId="LiveId" clId="{3663DC05-B761-4AF0-89BB-24376A01088A}" dt="2019-04-24T00:18:34.346" v="61" actId="478"/>
          <ac:picMkLst>
            <pc:docMk/>
            <pc:sldMk cId="1019335925" sldId="949"/>
            <ac:picMk id="5" creationId="{5FF6CD3A-07FB-44C7-B9B4-0588D67F47AF}"/>
          </ac:picMkLst>
        </pc:picChg>
        <pc:picChg chg="add del mod">
          <ac:chgData name="Hiram Fleitas" userId="461d7124ec7a38ad" providerId="LiveId" clId="{3663DC05-B761-4AF0-89BB-24376A01088A}" dt="2019-04-24T00:19:08.994" v="64" actId="478"/>
          <ac:picMkLst>
            <pc:docMk/>
            <pc:sldMk cId="1019335925" sldId="949"/>
            <ac:picMk id="6" creationId="{EE4EE62B-2360-4C3B-B4D3-4A21B91A1E24}"/>
          </ac:picMkLst>
        </pc:picChg>
        <pc:picChg chg="add mod">
          <ac:chgData name="Hiram Fleitas" userId="461d7124ec7a38ad" providerId="LiveId" clId="{3663DC05-B761-4AF0-89BB-24376A01088A}" dt="2019-04-24T00:21:59.572" v="95" actId="164"/>
          <ac:picMkLst>
            <pc:docMk/>
            <pc:sldMk cId="1019335925" sldId="949"/>
            <ac:picMk id="7" creationId="{76A7A87C-9D72-446E-9067-95426B43FD76}"/>
          </ac:picMkLst>
        </pc:picChg>
        <pc:picChg chg="add mod">
          <ac:chgData name="Hiram Fleitas" userId="461d7124ec7a38ad" providerId="LiveId" clId="{3663DC05-B761-4AF0-89BB-24376A01088A}" dt="2019-04-24T00:21:59.572" v="95" actId="164"/>
          <ac:picMkLst>
            <pc:docMk/>
            <pc:sldMk cId="1019335925" sldId="949"/>
            <ac:picMk id="8" creationId="{E4BFFA9A-9C01-4897-8423-C5E91E3F85F3}"/>
          </ac:picMkLst>
        </pc:picChg>
        <pc:picChg chg="del">
          <ac:chgData name="Hiram Fleitas" userId="461d7124ec7a38ad" providerId="LiveId" clId="{3663DC05-B761-4AF0-89BB-24376A01088A}" dt="2019-04-24T00:17:41.155" v="54" actId="478"/>
          <ac:picMkLst>
            <pc:docMk/>
            <pc:sldMk cId="1019335925" sldId="949"/>
            <ac:picMk id="9" creationId="{EA1FF085-681C-4632-BB65-34DF10E0E3E5}"/>
          </ac:picMkLst>
        </pc:picChg>
        <pc:picChg chg="del">
          <ac:chgData name="Hiram Fleitas" userId="461d7124ec7a38ad" providerId="LiveId" clId="{3663DC05-B761-4AF0-89BB-24376A01088A}" dt="2019-04-24T00:22:49.446" v="104" actId="478"/>
          <ac:picMkLst>
            <pc:docMk/>
            <pc:sldMk cId="1019335925" sldId="949"/>
            <ac:picMk id="10" creationId="{31EB8DEF-485B-46B9-980B-4C5EE6E7B7AD}"/>
          </ac:picMkLst>
        </pc:picChg>
        <pc:picChg chg="add del mod">
          <ac:chgData name="Hiram Fleitas" userId="461d7124ec7a38ad" providerId="LiveId" clId="{3663DC05-B761-4AF0-89BB-24376A01088A}" dt="2019-04-24T00:22:57.709" v="106" actId="478"/>
          <ac:picMkLst>
            <pc:docMk/>
            <pc:sldMk cId="1019335925" sldId="949"/>
            <ac:picMk id="12" creationId="{E8E42971-575D-4BA0-AC66-F1533A8545EE}"/>
          </ac:picMkLst>
        </pc:picChg>
      </pc:sldChg>
      <pc:sldChg chg="addSp delSp modSp add">
        <pc:chgData name="Hiram Fleitas" userId="461d7124ec7a38ad" providerId="LiveId" clId="{3663DC05-B761-4AF0-89BB-24376A01088A}" dt="2019-04-24T01:40:02.094" v="446" actId="14100"/>
        <pc:sldMkLst>
          <pc:docMk/>
          <pc:sldMk cId="3544022447" sldId="949"/>
        </pc:sldMkLst>
        <pc:spChg chg="add mod">
          <ac:chgData name="Hiram Fleitas" userId="461d7124ec7a38ad" providerId="LiveId" clId="{3663DC05-B761-4AF0-89BB-24376A01088A}" dt="2019-04-24T01:40:02.094" v="446" actId="14100"/>
          <ac:spMkLst>
            <pc:docMk/>
            <pc:sldMk cId="3544022447" sldId="949"/>
            <ac:spMk id="12" creationId="{CA57F97D-8800-4E01-9577-AE9BFEC6DC28}"/>
          </ac:spMkLst>
        </pc:spChg>
        <pc:picChg chg="add ord">
          <ac:chgData name="Hiram Fleitas" userId="461d7124ec7a38ad" providerId="LiveId" clId="{3663DC05-B761-4AF0-89BB-24376A01088A}" dt="2019-04-24T01:28:14.738" v="426" actId="167"/>
          <ac:picMkLst>
            <pc:docMk/>
            <pc:sldMk cId="3544022447" sldId="949"/>
            <ac:picMk id="2" creationId="{50FCF46B-C2C5-438D-8171-12209A696D52}"/>
          </ac:picMkLst>
        </pc:picChg>
        <pc:picChg chg="del">
          <ac:chgData name="Hiram Fleitas" userId="461d7124ec7a38ad" providerId="LiveId" clId="{3663DC05-B761-4AF0-89BB-24376A01088A}" dt="2019-04-24T01:28:03.173" v="420" actId="478"/>
          <ac:picMkLst>
            <pc:docMk/>
            <pc:sldMk cId="3544022447" sldId="949"/>
            <ac:picMk id="7" creationId="{1E961DD3-B39C-4095-AD0C-F87E26200388}"/>
          </ac:picMkLst>
        </pc:picChg>
      </pc:sldChg>
      <pc:sldChg chg="addSp add">
        <pc:chgData name="Hiram Fleitas" userId="461d7124ec7a38ad" providerId="LiveId" clId="{3663DC05-B761-4AF0-89BB-24376A01088A}" dt="2019-04-24T01:29:12.033" v="427"/>
        <pc:sldMkLst>
          <pc:docMk/>
          <pc:sldMk cId="993844266" sldId="950"/>
        </pc:sldMkLst>
        <pc:picChg chg="add">
          <ac:chgData name="Hiram Fleitas" userId="461d7124ec7a38ad" providerId="LiveId" clId="{3663DC05-B761-4AF0-89BB-24376A01088A}" dt="2019-04-24T01:29:12.033" v="427"/>
          <ac:picMkLst>
            <pc:docMk/>
            <pc:sldMk cId="993844266" sldId="950"/>
            <ac:picMk id="2" creationId="{54991F45-4AF3-4F33-A2A5-CA022153ABB4}"/>
          </ac:picMkLst>
        </pc:picChg>
      </pc:sldChg>
      <pc:sldChg chg="addSp delSp modSp add">
        <pc:chgData name="Hiram Fleitas" userId="461d7124ec7a38ad" providerId="LiveId" clId="{3663DC05-B761-4AF0-89BB-24376A01088A}" dt="2019-04-24T01:34:14.379" v="433"/>
        <pc:sldMkLst>
          <pc:docMk/>
          <pc:sldMk cId="1593572098" sldId="951"/>
        </pc:sldMkLst>
        <pc:spChg chg="add del">
          <ac:chgData name="Hiram Fleitas" userId="461d7124ec7a38ad" providerId="LiveId" clId="{3663DC05-B761-4AF0-89BB-24376A01088A}" dt="2019-04-24T01:34:14.379" v="433"/>
          <ac:spMkLst>
            <pc:docMk/>
            <pc:sldMk cId="1593572098" sldId="951"/>
            <ac:spMk id="3" creationId="{EBFFBE24-3177-40E9-BD1F-55AD18C92004}"/>
          </ac:spMkLst>
        </pc:spChg>
        <pc:picChg chg="add del ord">
          <ac:chgData name="Hiram Fleitas" userId="461d7124ec7a38ad" providerId="LiveId" clId="{3663DC05-B761-4AF0-89BB-24376A01088A}" dt="2019-04-24T01:30:11.766" v="431" actId="478"/>
          <ac:picMkLst>
            <pc:docMk/>
            <pc:sldMk cId="1593572098" sldId="951"/>
            <ac:picMk id="2" creationId="{BC7DE681-C46B-4487-8AC4-0036314F8525}"/>
          </ac:picMkLst>
        </pc:picChg>
      </pc:sldChg>
      <pc:sldChg chg="addSp delSp modSp add">
        <pc:chgData name="Hiram Fleitas" userId="461d7124ec7a38ad" providerId="LiveId" clId="{3663DC05-B761-4AF0-89BB-24376A01088A}" dt="2019-04-24T01:41:58.571" v="465" actId="14100"/>
        <pc:sldMkLst>
          <pc:docMk/>
          <pc:sldMk cId="685037595" sldId="952"/>
        </pc:sldMkLst>
        <pc:spChg chg="add del">
          <ac:chgData name="Hiram Fleitas" userId="461d7124ec7a38ad" providerId="LiveId" clId="{3663DC05-B761-4AF0-89BB-24376A01088A}" dt="2019-04-24T01:38:05.103" v="435"/>
          <ac:spMkLst>
            <pc:docMk/>
            <pc:sldMk cId="685037595" sldId="952"/>
            <ac:spMk id="2" creationId="{BE63456A-219C-4733-9AAF-D2961924216B}"/>
          </ac:spMkLst>
        </pc:spChg>
        <pc:spChg chg="add mod">
          <ac:chgData name="Hiram Fleitas" userId="461d7124ec7a38ad" providerId="LiveId" clId="{3663DC05-B761-4AF0-89BB-24376A01088A}" dt="2019-04-24T01:40:59.149" v="452" actId="14100"/>
          <ac:spMkLst>
            <pc:docMk/>
            <pc:sldMk cId="685037595" sldId="952"/>
            <ac:spMk id="12" creationId="{66EE3088-7FBF-4D48-9254-1B69A8879516}"/>
          </ac:spMkLst>
        </pc:spChg>
        <pc:spChg chg="add mod">
          <ac:chgData name="Hiram Fleitas" userId="461d7124ec7a38ad" providerId="LiveId" clId="{3663DC05-B761-4AF0-89BB-24376A01088A}" dt="2019-04-24T01:41:27.408" v="457" actId="14100"/>
          <ac:spMkLst>
            <pc:docMk/>
            <pc:sldMk cId="685037595" sldId="952"/>
            <ac:spMk id="13" creationId="{7602CD05-5301-4F36-B96C-310E380A907E}"/>
          </ac:spMkLst>
        </pc:spChg>
        <pc:spChg chg="add mod">
          <ac:chgData name="Hiram Fleitas" userId="461d7124ec7a38ad" providerId="LiveId" clId="{3663DC05-B761-4AF0-89BB-24376A01088A}" dt="2019-04-24T01:41:48.386" v="462" actId="14100"/>
          <ac:spMkLst>
            <pc:docMk/>
            <pc:sldMk cId="685037595" sldId="952"/>
            <ac:spMk id="14" creationId="{ACFE8D20-3956-41C1-B36C-4BA8BE3C83F3}"/>
          </ac:spMkLst>
        </pc:spChg>
        <pc:spChg chg="add mod">
          <ac:chgData name="Hiram Fleitas" userId="461d7124ec7a38ad" providerId="LiveId" clId="{3663DC05-B761-4AF0-89BB-24376A01088A}" dt="2019-04-24T01:41:58.571" v="465" actId="14100"/>
          <ac:spMkLst>
            <pc:docMk/>
            <pc:sldMk cId="685037595" sldId="952"/>
            <ac:spMk id="15" creationId="{0AAA23DC-718E-4F4F-9C7F-C5D5554B3CE2}"/>
          </ac:spMkLst>
        </pc:spChg>
        <pc:picChg chg="add mod ord">
          <ac:chgData name="Hiram Fleitas" userId="461d7124ec7a38ad" providerId="LiveId" clId="{3663DC05-B761-4AF0-89BB-24376A01088A}" dt="2019-04-24T01:41:33.804" v="460" actId="1076"/>
          <ac:picMkLst>
            <pc:docMk/>
            <pc:sldMk cId="685037595" sldId="952"/>
            <ac:picMk id="3" creationId="{95C1BC7E-1AB6-4061-92A8-C8380E7AAE13}"/>
          </ac:picMkLst>
        </pc:picChg>
      </pc:sldChg>
      <pc:sldChg chg="add">
        <pc:chgData name="Hiram Fleitas" userId="461d7124ec7a38ad" providerId="LiveId" clId="{3663DC05-B761-4AF0-89BB-24376A01088A}" dt="2019-04-24T01:28:07.556" v="424"/>
        <pc:sldMkLst>
          <pc:docMk/>
          <pc:sldMk cId="4232662503" sldId="953"/>
        </pc:sldMkLst>
      </pc:sldChg>
      <pc:sldChg chg="addSp delSp modSp add">
        <pc:chgData name="Hiram Fleitas" userId="461d7124ec7a38ad" providerId="LiveId" clId="{3663DC05-B761-4AF0-89BB-24376A01088A}" dt="2019-04-24T01:44:34.500" v="473" actId="478"/>
        <pc:sldMkLst>
          <pc:docMk/>
          <pc:sldMk cId="324951635" sldId="954"/>
        </pc:sldMkLst>
        <pc:picChg chg="add del">
          <ac:chgData name="Hiram Fleitas" userId="461d7124ec7a38ad" providerId="LiveId" clId="{3663DC05-B761-4AF0-89BB-24376A01088A}" dt="2019-04-24T01:38:31.349" v="438"/>
          <ac:picMkLst>
            <pc:docMk/>
            <pc:sldMk cId="324951635" sldId="954"/>
            <ac:picMk id="2" creationId="{1E7EA01B-2FFE-4530-B827-ED701989267B}"/>
          </ac:picMkLst>
        </pc:picChg>
        <pc:picChg chg="add del ord">
          <ac:chgData name="Hiram Fleitas" userId="461d7124ec7a38ad" providerId="LiveId" clId="{3663DC05-B761-4AF0-89BB-24376A01088A}" dt="2019-04-24T01:44:34.500" v="473" actId="478"/>
          <ac:picMkLst>
            <pc:docMk/>
            <pc:sldMk cId="324951635" sldId="954"/>
            <ac:picMk id="3" creationId="{756EC9A3-876A-48FF-B3BA-C389C1AC7F15}"/>
          </ac:picMkLst>
        </pc:picChg>
      </pc:sldChg>
      <pc:sldChg chg="addSp delSp modSp add modNotesTx">
        <pc:chgData name="Hiram Fleitas" userId="461d7124ec7a38ad" providerId="LiveId" clId="{3663DC05-B761-4AF0-89BB-24376A01088A}" dt="2019-04-24T01:44:30.336" v="472" actId="167"/>
        <pc:sldMkLst>
          <pc:docMk/>
          <pc:sldMk cId="1132149318" sldId="955"/>
        </pc:sldMkLst>
        <pc:picChg chg="del">
          <ac:chgData name="Hiram Fleitas" userId="461d7124ec7a38ad" providerId="LiveId" clId="{3663DC05-B761-4AF0-89BB-24376A01088A}" dt="2019-04-24T01:42:14.045" v="467" actId="478"/>
          <ac:picMkLst>
            <pc:docMk/>
            <pc:sldMk cId="1132149318" sldId="955"/>
            <ac:picMk id="3" creationId="{95C1BC7E-1AB6-4061-92A8-C8380E7AAE13}"/>
          </ac:picMkLst>
        </pc:picChg>
        <pc:picChg chg="add ord">
          <ac:chgData name="Hiram Fleitas" userId="461d7124ec7a38ad" providerId="LiveId" clId="{3663DC05-B761-4AF0-89BB-24376A01088A}" dt="2019-04-24T01:44:30.336" v="472" actId="167"/>
          <ac:picMkLst>
            <pc:docMk/>
            <pc:sldMk cId="1132149318" sldId="955"/>
            <ac:picMk id="16" creationId="{A503DB03-D72C-4394-BBF8-206A2123A65E}"/>
          </ac:picMkLst>
        </pc:picChg>
      </pc:sldChg>
      <pc:sldMasterChg chg="delSldLayout">
        <pc:chgData name="Hiram Fleitas" userId="461d7124ec7a38ad" providerId="LiveId" clId="{3663DC05-B761-4AF0-89BB-24376A01088A}" dt="2019-04-24T01:48:56.397" v="506" actId="2696"/>
        <pc:sldMasterMkLst>
          <pc:docMk/>
          <pc:sldMasterMk cId="3908582467" sldId="2147483648"/>
        </pc:sldMasterMkLst>
        <pc:sldLayoutChg chg="del">
          <pc:chgData name="Hiram Fleitas" userId="461d7124ec7a38ad" providerId="LiveId" clId="{3663DC05-B761-4AF0-89BB-24376A01088A}" dt="2019-04-24T01:48:56.397" v="506" actId="2696"/>
          <pc:sldLayoutMkLst>
            <pc:docMk/>
            <pc:sldMasterMk cId="3908582467" sldId="2147483648"/>
            <pc:sldLayoutMk cId="3428794252" sldId="2147483663"/>
          </pc:sldLayoutMkLst>
        </pc:sldLayoutChg>
      </pc:sldMasterChg>
    </pc:docChg>
  </pc:docChgLst>
  <pc:docChgLst>
    <pc:chgData name="Hiram Fleitas" userId="461d7124ec7a38ad" providerId="LiveId" clId="{C1076C30-4514-4B21-BA69-B62721A62E4C}"/>
    <pc:docChg chg="undo redo custSel addSld delSld modSld sldOrd modMainMaster delSection modSection">
      <pc:chgData name="Hiram Fleitas" userId="461d7124ec7a38ad" providerId="LiveId" clId="{C1076C30-4514-4B21-BA69-B62721A62E4C}" dt="2019-03-26T18:32:33.856" v="378" actId="20577"/>
      <pc:docMkLst>
        <pc:docMk/>
      </pc:docMkLst>
      <pc:sldChg chg="ord">
        <pc:chgData name="Hiram Fleitas" userId="461d7124ec7a38ad" providerId="LiveId" clId="{C1076C30-4514-4B21-BA69-B62721A62E4C}" dt="2019-03-26T18:09:42.593" v="296"/>
        <pc:sldMkLst>
          <pc:docMk/>
          <pc:sldMk cId="1969843946" sldId="324"/>
        </pc:sldMkLst>
      </pc:sldChg>
      <pc:sldChg chg="ord">
        <pc:chgData name="Hiram Fleitas" userId="461d7124ec7a38ad" providerId="LiveId" clId="{C1076C30-4514-4B21-BA69-B62721A62E4C}" dt="2019-03-26T18:09:14.184" v="295"/>
        <pc:sldMkLst>
          <pc:docMk/>
          <pc:sldMk cId="1761106601" sldId="327"/>
        </pc:sldMkLst>
      </pc:sldChg>
      <pc:sldChg chg="ord">
        <pc:chgData name="Hiram Fleitas" userId="461d7124ec7a38ad" providerId="LiveId" clId="{C1076C30-4514-4B21-BA69-B62721A62E4C}" dt="2019-03-26T18:09:49.019" v="297"/>
        <pc:sldMkLst>
          <pc:docMk/>
          <pc:sldMk cId="3755768089" sldId="332"/>
        </pc:sldMkLst>
      </pc:sldChg>
      <pc:sldChg chg="modSp">
        <pc:chgData name="Hiram Fleitas" userId="461d7124ec7a38ad" providerId="LiveId" clId="{C1076C30-4514-4B21-BA69-B62721A62E4C}" dt="2019-03-26T18:32:33.856" v="378" actId="20577"/>
        <pc:sldMkLst>
          <pc:docMk/>
          <pc:sldMk cId="4091502606" sldId="529"/>
        </pc:sldMkLst>
        <pc:spChg chg="mod">
          <ac:chgData name="Hiram Fleitas" userId="461d7124ec7a38ad" providerId="LiveId" clId="{C1076C30-4514-4B21-BA69-B62721A62E4C}" dt="2019-03-26T18:32:33.856" v="378" actId="20577"/>
          <ac:spMkLst>
            <pc:docMk/>
            <pc:sldMk cId="4091502606" sldId="529"/>
            <ac:spMk id="4" creationId="{5861C861-75F5-49F2-9567-B1AB524CCD4A}"/>
          </ac:spMkLst>
        </pc:spChg>
      </pc:sldChg>
      <pc:sldChg chg="modSp">
        <pc:chgData name="Hiram Fleitas" userId="461d7124ec7a38ad" providerId="LiveId" clId="{C1076C30-4514-4B21-BA69-B62721A62E4C}" dt="2019-03-26T17:46:18.304" v="57" actId="20577"/>
        <pc:sldMkLst>
          <pc:docMk/>
          <pc:sldMk cId="2390529645" sldId="592"/>
        </pc:sldMkLst>
        <pc:spChg chg="mod">
          <ac:chgData name="Hiram Fleitas" userId="461d7124ec7a38ad" providerId="LiveId" clId="{C1076C30-4514-4B21-BA69-B62721A62E4C}" dt="2019-03-26T17:46:18.304" v="57" actId="20577"/>
          <ac:spMkLst>
            <pc:docMk/>
            <pc:sldMk cId="2390529645" sldId="592"/>
            <ac:spMk id="3" creationId="{7FF0C641-4EAE-4696-A384-96F0A0D630ED}"/>
          </ac:spMkLst>
        </pc:spChg>
      </pc:sldChg>
      <pc:sldChg chg="ord modNotesTx">
        <pc:chgData name="Hiram Fleitas" userId="461d7124ec7a38ad" providerId="LiveId" clId="{C1076C30-4514-4B21-BA69-B62721A62E4C}" dt="2019-03-26T18:10:04.963" v="305" actId="20577"/>
        <pc:sldMkLst>
          <pc:docMk/>
          <pc:sldMk cId="4172075436" sldId="594"/>
        </pc:sldMkLst>
      </pc:sldChg>
      <pc:sldChg chg="modSp">
        <pc:chgData name="Hiram Fleitas" userId="461d7124ec7a38ad" providerId="LiveId" clId="{C1076C30-4514-4B21-BA69-B62721A62E4C}" dt="2019-03-26T17:46:46.917" v="59" actId="1076"/>
        <pc:sldMkLst>
          <pc:docMk/>
          <pc:sldMk cId="3030542895" sldId="602"/>
        </pc:sldMkLst>
        <pc:picChg chg="mod">
          <ac:chgData name="Hiram Fleitas" userId="461d7124ec7a38ad" providerId="LiveId" clId="{C1076C30-4514-4B21-BA69-B62721A62E4C}" dt="2019-03-26T17:46:46.917" v="59" actId="1076"/>
          <ac:picMkLst>
            <pc:docMk/>
            <pc:sldMk cId="3030542895" sldId="602"/>
            <ac:picMk id="8196" creationId="{007A2180-1119-46F3-980B-ABDEEEDE272C}"/>
          </ac:picMkLst>
        </pc:picChg>
      </pc:sldChg>
      <pc:sldChg chg="modSp">
        <pc:chgData name="Hiram Fleitas" userId="461d7124ec7a38ad" providerId="LiveId" clId="{C1076C30-4514-4B21-BA69-B62721A62E4C}" dt="2019-03-26T18:04:40.481" v="219" actId="113"/>
        <pc:sldMkLst>
          <pc:docMk/>
          <pc:sldMk cId="3157100967" sldId="938"/>
        </pc:sldMkLst>
        <pc:spChg chg="mod">
          <ac:chgData name="Hiram Fleitas" userId="461d7124ec7a38ad" providerId="LiveId" clId="{C1076C30-4514-4B21-BA69-B62721A62E4C}" dt="2019-03-26T18:04:40.481" v="219" actId="113"/>
          <ac:spMkLst>
            <pc:docMk/>
            <pc:sldMk cId="3157100967" sldId="938"/>
            <ac:spMk id="2" creationId="{755FCDBF-8F98-4817-B6AC-B57EB97960D0}"/>
          </ac:spMkLst>
        </pc:spChg>
        <pc:spChg chg="mod">
          <ac:chgData name="Hiram Fleitas" userId="461d7124ec7a38ad" providerId="LiveId" clId="{C1076C30-4514-4B21-BA69-B62721A62E4C}" dt="2019-03-26T15:49:22.351" v="4" actId="1076"/>
          <ac:spMkLst>
            <pc:docMk/>
            <pc:sldMk cId="3157100967" sldId="938"/>
            <ac:spMk id="16" creationId="{6C9ACC70-D9B3-42A5-A9A0-5673558E6C71}"/>
          </ac:spMkLst>
        </pc:spChg>
      </pc:sldChg>
      <pc:sldChg chg="setBg">
        <pc:chgData name="Hiram Fleitas" userId="461d7124ec7a38ad" providerId="LiveId" clId="{C1076C30-4514-4B21-BA69-B62721A62E4C}" dt="2019-03-26T17:18:45.741" v="5"/>
        <pc:sldMkLst>
          <pc:docMk/>
          <pc:sldMk cId="2132952452" sldId="941"/>
        </pc:sldMkLst>
      </pc:sldChg>
      <pc:sldChg chg="setBg">
        <pc:chgData name="Hiram Fleitas" userId="461d7124ec7a38ad" providerId="LiveId" clId="{C1076C30-4514-4B21-BA69-B62721A62E4C}" dt="2019-03-26T17:18:51.654" v="6"/>
        <pc:sldMkLst>
          <pc:docMk/>
          <pc:sldMk cId="422149466" sldId="942"/>
        </pc:sldMkLst>
      </pc:sldChg>
      <pc:sldChg chg="setBg modNotesTx">
        <pc:chgData name="Hiram Fleitas" userId="461d7124ec7a38ad" providerId="LiveId" clId="{C1076C30-4514-4B21-BA69-B62721A62E4C}" dt="2019-03-26T17:36:24.037" v="21" actId="6549"/>
        <pc:sldMkLst>
          <pc:docMk/>
          <pc:sldMk cId="3660474804" sldId="943"/>
        </pc:sldMkLst>
      </pc:sldChg>
      <pc:sldChg chg="setBg modNotesTx">
        <pc:chgData name="Hiram Fleitas" userId="461d7124ec7a38ad" providerId="LiveId" clId="{C1076C30-4514-4B21-BA69-B62721A62E4C}" dt="2019-03-26T17:36:21.053" v="20" actId="6549"/>
        <pc:sldMkLst>
          <pc:docMk/>
          <pc:sldMk cId="2855375308" sldId="944"/>
        </pc:sldMkLst>
      </pc:sldChg>
      <pc:sldChg chg="addSp delSp setBg modNotesTx">
        <pc:chgData name="Hiram Fleitas" userId="461d7124ec7a38ad" providerId="LiveId" clId="{C1076C30-4514-4B21-BA69-B62721A62E4C}" dt="2019-03-26T17:36:17.733" v="19" actId="6549"/>
        <pc:sldMkLst>
          <pc:docMk/>
          <pc:sldMk cId="1628316798" sldId="945"/>
        </pc:sldMkLst>
        <pc:picChg chg="del">
          <ac:chgData name="Hiram Fleitas" userId="461d7124ec7a38ad" providerId="LiveId" clId="{C1076C30-4514-4B21-BA69-B62721A62E4C}" dt="2019-03-26T17:35:33.821" v="13"/>
          <ac:picMkLst>
            <pc:docMk/>
            <pc:sldMk cId="1628316798" sldId="945"/>
            <ac:picMk id="13" creationId="{14DDDE4B-1515-469D-AF38-F4AEA3374CB1}"/>
          </ac:picMkLst>
        </pc:picChg>
        <pc:picChg chg="add">
          <ac:chgData name="Hiram Fleitas" userId="461d7124ec7a38ad" providerId="LiveId" clId="{C1076C30-4514-4B21-BA69-B62721A62E4C}" dt="2019-03-26T17:35:36.587" v="15"/>
          <ac:picMkLst>
            <pc:docMk/>
            <pc:sldMk cId="1628316798" sldId="945"/>
            <ac:picMk id="14" creationId="{CD3504FD-7535-46AE-9F13-3C146DAA1CBE}"/>
          </ac:picMkLst>
        </pc:picChg>
        <pc:picChg chg="del">
          <ac:chgData name="Hiram Fleitas" userId="461d7124ec7a38ad" providerId="LiveId" clId="{C1076C30-4514-4B21-BA69-B62721A62E4C}" dt="2019-03-26T17:35:35.441" v="14" actId="478"/>
          <ac:picMkLst>
            <pc:docMk/>
            <pc:sldMk cId="1628316798" sldId="945"/>
            <ac:picMk id="16386" creationId="{21D9FBBB-8AE8-41EA-A80D-B74B4D0D75FB}"/>
          </ac:picMkLst>
        </pc:picChg>
      </pc:sldChg>
      <pc:sldChg chg="addSp delSp modSp add modNotesTx">
        <pc:chgData name="Hiram Fleitas" userId="461d7124ec7a38ad" providerId="LiveId" clId="{C1076C30-4514-4B21-BA69-B62721A62E4C}" dt="2019-03-26T17:40:46.545" v="41" actId="20577"/>
        <pc:sldMkLst>
          <pc:docMk/>
          <pc:sldMk cId="2213798299" sldId="946"/>
        </pc:sldMkLst>
        <pc:picChg chg="del">
          <ac:chgData name="Hiram Fleitas" userId="461d7124ec7a38ad" providerId="LiveId" clId="{C1076C30-4514-4B21-BA69-B62721A62E4C}" dt="2019-03-26T17:35:27.585" v="11" actId="478"/>
          <ac:picMkLst>
            <pc:docMk/>
            <pc:sldMk cId="2213798299" sldId="946"/>
            <ac:picMk id="13" creationId="{14DDDE4B-1515-469D-AF38-F4AEA3374CB1}"/>
          </ac:picMkLst>
        </pc:picChg>
        <pc:picChg chg="add del">
          <ac:chgData name="Hiram Fleitas" userId="461d7124ec7a38ad" providerId="LiveId" clId="{C1076C30-4514-4B21-BA69-B62721A62E4C}" dt="2019-03-26T17:36:01.325" v="17"/>
          <ac:picMkLst>
            <pc:docMk/>
            <pc:sldMk cId="2213798299" sldId="946"/>
            <ac:picMk id="6146" creationId="{BB78D9CA-4C65-49C2-B0AE-DF13C2B2B948}"/>
          </ac:picMkLst>
        </pc:picChg>
        <pc:picChg chg="add mod ord">
          <ac:chgData name="Hiram Fleitas" userId="461d7124ec7a38ad" providerId="LiveId" clId="{C1076C30-4514-4B21-BA69-B62721A62E4C}" dt="2019-03-26T17:38:05.754" v="25" actId="167"/>
          <ac:picMkLst>
            <pc:docMk/>
            <pc:sldMk cId="2213798299" sldId="946"/>
            <ac:picMk id="6148" creationId="{C2F6D42F-9391-4660-A3A1-A838CB585F15}"/>
          </ac:picMkLst>
        </pc:picChg>
        <pc:picChg chg="del">
          <ac:chgData name="Hiram Fleitas" userId="461d7124ec7a38ad" providerId="LiveId" clId="{C1076C30-4514-4B21-BA69-B62721A62E4C}" dt="2019-03-26T17:35:29.776" v="12" actId="478"/>
          <ac:picMkLst>
            <pc:docMk/>
            <pc:sldMk cId="2213798299" sldId="946"/>
            <ac:picMk id="16386" creationId="{21D9FBBB-8AE8-41EA-A80D-B74B4D0D75FB}"/>
          </ac:picMkLst>
        </pc:picChg>
      </pc:sldChg>
      <pc:sldChg chg="addSp delSp modSp add delAnim modAnim modNotesTx">
        <pc:chgData name="Hiram Fleitas" userId="461d7124ec7a38ad" providerId="LiveId" clId="{C1076C30-4514-4B21-BA69-B62721A62E4C}" dt="2019-03-26T18:29:23.272" v="355" actId="1076"/>
        <pc:sldMkLst>
          <pc:docMk/>
          <pc:sldMk cId="2489766288" sldId="947"/>
        </pc:sldMkLst>
        <pc:spChg chg="del mod">
          <ac:chgData name="Hiram Fleitas" userId="461d7124ec7a38ad" providerId="LiveId" clId="{C1076C30-4514-4B21-BA69-B62721A62E4C}" dt="2019-03-26T18:17:55.065" v="324" actId="478"/>
          <ac:spMkLst>
            <pc:docMk/>
            <pc:sldMk cId="2489766288" sldId="947"/>
            <ac:spMk id="2" creationId="{755FCDBF-8F98-4817-B6AC-B57EB97960D0}"/>
          </ac:spMkLst>
        </pc:spChg>
        <pc:spChg chg="mod">
          <ac:chgData name="Hiram Fleitas" userId="461d7124ec7a38ad" providerId="LiveId" clId="{C1076C30-4514-4B21-BA69-B62721A62E4C}" dt="2019-03-26T18:29:23.272" v="355" actId="1076"/>
          <ac:spMkLst>
            <pc:docMk/>
            <pc:sldMk cId="2489766288" sldId="947"/>
            <ac:spMk id="3" creationId="{51DDC27F-7C12-4143-855F-186E4AC2EC9E}"/>
          </ac:spMkLst>
        </pc:spChg>
        <pc:spChg chg="mod">
          <ac:chgData name="Hiram Fleitas" userId="461d7124ec7a38ad" providerId="LiveId" clId="{C1076C30-4514-4B21-BA69-B62721A62E4C}" dt="2019-03-26T17:50:00.110" v="61"/>
          <ac:spMkLst>
            <pc:docMk/>
            <pc:sldMk cId="2489766288" sldId="947"/>
            <ac:spMk id="7" creationId="{75EDDC2C-64B1-4AAA-9460-C016ABB55FD0}"/>
          </ac:spMkLst>
        </pc:spChg>
        <pc:spChg chg="add mod">
          <ac:chgData name="Hiram Fleitas" userId="461d7124ec7a38ad" providerId="LiveId" clId="{C1076C30-4514-4B21-BA69-B62721A62E4C}" dt="2019-03-26T18:27:41.011" v="350" actId="1076"/>
          <ac:spMkLst>
            <pc:docMk/>
            <pc:sldMk cId="2489766288" sldId="947"/>
            <ac:spMk id="18" creationId="{707B10FE-A2D8-4E4D-AC25-776DE76003AE}"/>
          </ac:spMkLst>
        </pc:spChg>
        <pc:grpChg chg="mod">
          <ac:chgData name="Hiram Fleitas" userId="461d7124ec7a38ad" providerId="LiveId" clId="{C1076C30-4514-4B21-BA69-B62721A62E4C}" dt="2019-03-26T18:27:47.533" v="351" actId="1076"/>
          <ac:grpSpMkLst>
            <pc:docMk/>
            <pc:sldMk cId="2489766288" sldId="947"/>
            <ac:grpSpMk id="14" creationId="{E3473B26-1406-4215-B152-3867DCC2D81A}"/>
          </ac:grpSpMkLst>
        </pc:grpChg>
        <pc:picChg chg="add">
          <ac:chgData name="Hiram Fleitas" userId="461d7124ec7a38ad" providerId="LiveId" clId="{C1076C30-4514-4B21-BA69-B62721A62E4C}" dt="2019-03-26T17:52:05.542" v="82"/>
          <ac:picMkLst>
            <pc:docMk/>
            <pc:sldMk cId="2489766288" sldId="947"/>
            <ac:picMk id="17" creationId="{CB7E0BAB-C6A1-47D5-84AD-CED0ED88172B}"/>
          </ac:picMkLst>
        </pc:picChg>
        <pc:picChg chg="add del">
          <ac:chgData name="Hiram Fleitas" userId="461d7124ec7a38ad" providerId="LiveId" clId="{C1076C30-4514-4B21-BA69-B62721A62E4C}" dt="2019-03-26T18:10:32.575" v="307" actId="478"/>
          <ac:picMkLst>
            <pc:docMk/>
            <pc:sldMk cId="2489766288" sldId="947"/>
            <ac:picMk id="19" creationId="{0E63AD3C-78ED-476A-AD00-0743CD404ED8}"/>
          </ac:picMkLst>
        </pc:picChg>
        <pc:picChg chg="add mod">
          <ac:chgData name="Hiram Fleitas" userId="461d7124ec7a38ad" providerId="LiveId" clId="{C1076C30-4514-4B21-BA69-B62721A62E4C}" dt="2019-03-26T18:27:33.500" v="349" actId="1076"/>
          <ac:picMkLst>
            <pc:docMk/>
            <pc:sldMk cId="2489766288" sldId="947"/>
            <ac:picMk id="20" creationId="{6357A3A7-A413-4E86-8785-FF581A18F666}"/>
          </ac:picMkLst>
        </pc:picChg>
        <pc:picChg chg="add del mod">
          <ac:chgData name="Hiram Fleitas" userId="461d7124ec7a38ad" providerId="LiveId" clId="{C1076C30-4514-4B21-BA69-B62721A62E4C}" dt="2019-03-26T18:10:50.509" v="311" actId="478"/>
          <ac:picMkLst>
            <pc:docMk/>
            <pc:sldMk cId="2489766288" sldId="947"/>
            <ac:picMk id="7170" creationId="{F4AD2C54-EBEE-4A0B-A69E-8737BCAD3EFF}"/>
          </ac:picMkLst>
        </pc:picChg>
        <pc:picChg chg="add del mod">
          <ac:chgData name="Hiram Fleitas" userId="461d7124ec7a38ad" providerId="LiveId" clId="{C1076C30-4514-4B21-BA69-B62721A62E4C}" dt="2019-03-26T17:52:03.253" v="80"/>
          <ac:picMkLst>
            <pc:docMk/>
            <pc:sldMk cId="2489766288" sldId="947"/>
            <ac:picMk id="7172" creationId="{7ABC1CBE-C43C-4BBD-8EB4-CAA6F0F4234B}"/>
          </ac:picMkLst>
        </pc:picChg>
        <pc:picChg chg="del">
          <ac:chgData name="Hiram Fleitas" userId="461d7124ec7a38ad" providerId="LiveId" clId="{C1076C30-4514-4B21-BA69-B62721A62E4C}" dt="2019-03-26T17:52:04.963" v="81" actId="478"/>
          <ac:picMkLst>
            <pc:docMk/>
            <pc:sldMk cId="2489766288" sldId="947"/>
            <ac:picMk id="10242" creationId="{C593D503-E5DE-47CE-A460-46E6B004F771}"/>
          </ac:picMkLst>
        </pc:picChg>
        <pc:picChg chg="add del">
          <ac:chgData name="Hiram Fleitas" userId="461d7124ec7a38ad" providerId="LiveId" clId="{C1076C30-4514-4B21-BA69-B62721A62E4C}" dt="2019-03-26T17:51:37.215" v="76" actId="478"/>
          <ac:picMkLst>
            <pc:docMk/>
            <pc:sldMk cId="2489766288" sldId="947"/>
            <ac:picMk id="10248" creationId="{0165C2C1-434D-4A32-830F-63D7D0C2F612}"/>
          </ac:picMkLst>
        </pc:picChg>
      </pc:sldChg>
      <pc:sldMasterChg chg="delSldLayout modSldLayout">
        <pc:chgData name="Hiram Fleitas" userId="461d7124ec7a38ad" providerId="LiveId" clId="{C1076C30-4514-4B21-BA69-B62721A62E4C}" dt="2019-03-26T18:31:59.062" v="360" actId="2696"/>
        <pc:sldMasterMkLst>
          <pc:docMk/>
          <pc:sldMasterMk cId="3908582467" sldId="2147483648"/>
        </pc:sldMasterMkLst>
        <pc:sldLayoutChg chg="modSp">
          <pc:chgData name="Hiram Fleitas" userId="461d7124ec7a38ad" providerId="LiveId" clId="{C1076C30-4514-4B21-BA69-B62721A62E4C}" dt="2019-03-26T15:32:11.384" v="0" actId="6549"/>
          <pc:sldLayoutMkLst>
            <pc:docMk/>
            <pc:sldMasterMk cId="3908582467" sldId="2147483648"/>
            <pc:sldLayoutMk cId="543887899" sldId="2147483680"/>
          </pc:sldLayoutMkLst>
          <pc:spChg chg="mod">
            <ac:chgData name="Hiram Fleitas" userId="461d7124ec7a38ad" providerId="LiveId" clId="{C1076C30-4514-4B21-BA69-B62721A62E4C}" dt="2019-03-26T15:32:11.384" v="0" actId="6549"/>
            <ac:spMkLst>
              <pc:docMk/>
              <pc:sldMasterMk cId="3908582467" sldId="2147483648"/>
              <pc:sldLayoutMk cId="543887899" sldId="2147483680"/>
              <ac:spMk id="9" creationId="{D14CA51F-6CD7-424C-8776-5790D4B683EB}"/>
            </ac:spMkLst>
          </pc:spChg>
        </pc:sldLayoutChg>
      </pc:sldMasterChg>
    </pc:docChg>
  </pc:docChgLst>
  <pc:docChgLst>
    <pc:chgData name="Tamer Farag" userId="b89adaf9-1f5e-4fb5-b342-6ff9f0588865" providerId="ADAL" clId="{AE51D5C2-3089-4E40-838B-42AAE4831068}"/>
  </pc:docChgLst>
  <pc:docChgLst>
    <pc:chgData name="Tamer Farag" userId="b89adaf9-1f5e-4fb5-b342-6ff9f0588865" providerId="ADAL" clId="{9469A61A-7DF8-4967-86BB-2F54D00ABD1E}"/>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5/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47.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8" Type="http://schemas.openxmlformats.org/officeDocument/2006/relationships/hyperlink" Target="https://powerusers.microsoft.com/t5/General-Discussion/image-in-a-circle/m-p/9124#M4007" TargetMode="External"/><Relationship Id="rId3" Type="http://schemas.openxmlformats.org/officeDocument/2006/relationships/hyperlink" Target="https://docs.microsoft.com/en-us/power-platform/admin/pricing-billing-skus" TargetMode="External"/><Relationship Id="rId7" Type="http://schemas.openxmlformats.org/officeDocument/2006/relationships/hyperlink" Target="https://www.youtube.com/watch?v=rcrubFa8758" TargetMode="External"/><Relationship Id="rId2" Type="http://schemas.openxmlformats.org/officeDocument/2006/relationships/slide" Target="../slides/slide289.xml"/><Relationship Id="rId1" Type="http://schemas.openxmlformats.org/officeDocument/2006/relationships/notesMaster" Target="../notesMasters/notesMaster1.xml"/><Relationship Id="rId6" Type="http://schemas.openxmlformats.org/officeDocument/2006/relationships/hyperlink" Target="https://docs.microsoft.com/en-us/powerapps/maker/canvas-apps/add-scrolling-screen" TargetMode="External"/><Relationship Id="rId5" Type="http://schemas.openxmlformats.org/officeDocument/2006/relationships/hyperlink" Target="https://www.youtube.com/watch?v=swpjfIyXCNA" TargetMode="External"/><Relationship Id="rId10" Type="http://schemas.openxmlformats.org/officeDocument/2006/relationships/hyperlink" Target="https://docs.microsoft.com/en-us/power-bi/service-cortana-enable" TargetMode="External"/><Relationship Id="rId4" Type="http://schemas.openxmlformats.org/officeDocument/2006/relationships/hyperlink" Target="https://docs.microsoft.com/en-us/powerapps/maker/signup-for-powerapps" TargetMode="External"/><Relationship Id="rId9" Type="http://schemas.openxmlformats.org/officeDocument/2006/relationships/hyperlink" Target="https://docs.microsoft.com/en-us/power-bi/service-cortana-intro" TargetMode="Externa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2019 4:5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1987709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2019 4:5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7030592"/>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04321281"/>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95062108"/>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44484968"/>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4201710"/>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23813436"/>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75152042"/>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97673308"/>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3887937"/>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1754783"/>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325879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72975933"/>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ribbon select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gt; </a:t>
            </a:r>
            <a:r>
              <a:rPr lang="en-US" sz="1200" b="1" i="0" u="none" strike="noStrike" kern="1200" baseline="0" dirty="0">
                <a:solidFill>
                  <a:schemeClr val="tx1"/>
                </a:solidFill>
                <a:latin typeface="+mn-lt"/>
                <a:ea typeface="+mn-ea"/>
                <a:cs typeface="+mn-cs"/>
              </a:rPr>
              <a:t>Get Data</a:t>
            </a:r>
            <a:r>
              <a:rPr lang="en-US" sz="1200" b="0" i="0" u="none" strike="noStrike" kern="1200" baseline="0" dirty="0">
                <a:solidFill>
                  <a:schemeClr val="tx1"/>
                </a:solidFill>
                <a:latin typeface="+mn-lt"/>
                <a:ea typeface="+mn-ea"/>
                <a:cs typeface="+mn-cs"/>
              </a:rPr>
              <a:t> -&gt; More… </a:t>
            </a:r>
          </a:p>
          <a:p>
            <a:r>
              <a:rPr lang="en-US" sz="1200" b="0" i="0" u="none" strike="noStrike" kern="1200" baseline="0" dirty="0">
                <a:solidFill>
                  <a:schemeClr val="tx1"/>
                </a:solidFill>
                <a:latin typeface="+mn-lt"/>
                <a:ea typeface="+mn-ea"/>
                <a:cs typeface="+mn-cs"/>
              </a:rPr>
              <a:t>Talk about the variety of sources supported:</a:t>
            </a:r>
          </a:p>
          <a:p>
            <a:r>
              <a:rPr lang="en-US" sz="1200" b="0" i="0" u="none" strike="noStrike" kern="1200" baseline="0" dirty="0">
                <a:solidFill>
                  <a:schemeClr val="tx1"/>
                </a:solidFill>
                <a:latin typeface="+mn-lt"/>
                <a:ea typeface="+mn-ea"/>
                <a:cs typeface="+mn-cs"/>
              </a:rPr>
              <a:t>• File </a:t>
            </a:r>
          </a:p>
          <a:p>
            <a:r>
              <a:rPr lang="en-US" sz="1200" b="0" i="0" u="none" strike="noStrike" kern="1200" baseline="0" dirty="0">
                <a:solidFill>
                  <a:schemeClr val="tx1"/>
                </a:solidFill>
                <a:latin typeface="+mn-lt"/>
                <a:ea typeface="+mn-ea"/>
                <a:cs typeface="+mn-cs"/>
              </a:rPr>
              <a:t>• Database </a:t>
            </a:r>
          </a:p>
          <a:p>
            <a:r>
              <a:rPr lang="en-US" sz="1200" b="0" i="0" u="none" strike="noStrike" kern="1200" baseline="0" dirty="0">
                <a:solidFill>
                  <a:schemeClr val="tx1"/>
                </a:solidFill>
                <a:latin typeface="+mn-lt"/>
                <a:ea typeface="+mn-ea"/>
                <a:cs typeface="+mn-cs"/>
              </a:rPr>
              <a:t>• Azure </a:t>
            </a:r>
          </a:p>
          <a:p>
            <a:r>
              <a:rPr lang="en-US" sz="1200" b="0" i="0" u="none" strike="noStrike" kern="1200" baseline="0" dirty="0">
                <a:solidFill>
                  <a:schemeClr val="tx1"/>
                </a:solidFill>
                <a:latin typeface="+mn-lt"/>
                <a:ea typeface="+mn-ea"/>
                <a:cs typeface="+mn-cs"/>
              </a:rPr>
              <a:t>• Othe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4161308"/>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queries are created from the 1 workbook, a csv file and a folder data source.</a:t>
            </a:r>
          </a:p>
          <a:p>
            <a:r>
              <a:rPr lang="en-US" sz="1200" b="0" i="0" u="none" strike="noStrike" kern="1200" baseline="0" dirty="0">
                <a:solidFill>
                  <a:schemeClr val="tx1"/>
                </a:solidFill>
                <a:latin typeface="+mn-lt"/>
                <a:ea typeface="+mn-ea"/>
                <a:cs typeface="+mn-cs"/>
              </a:rPr>
              <a:t>There are data preparation and </a:t>
            </a:r>
            <a:r>
              <a:rPr lang="en-US" sz="1200" b="1" i="0" u="none" strike="noStrike" kern="1200" baseline="0" dirty="0">
                <a:solidFill>
                  <a:schemeClr val="tx1"/>
                </a:solidFill>
                <a:latin typeface="+mn-lt"/>
                <a:ea typeface="+mn-ea"/>
                <a:cs typeface="+mn-cs"/>
              </a:rPr>
              <a:t>transformation</a:t>
            </a:r>
            <a:r>
              <a:rPr lang="en-US" sz="1200" b="0" i="0" u="none" strike="noStrike" kern="1200" baseline="0" dirty="0">
                <a:solidFill>
                  <a:schemeClr val="tx1"/>
                </a:solidFill>
                <a:latin typeface="+mn-lt"/>
                <a:ea typeface="+mn-ea"/>
                <a:cs typeface="+mn-cs"/>
              </a:rPr>
              <a:t> options. </a:t>
            </a:r>
          </a:p>
          <a:p>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Add/Delete Columns and Rows </a:t>
            </a:r>
          </a:p>
          <a:p>
            <a:r>
              <a:rPr lang="en-US" sz="1200" b="0" i="0" u="none" strike="noStrike" kern="1200" baseline="0" dirty="0">
                <a:solidFill>
                  <a:schemeClr val="tx1"/>
                </a:solidFill>
                <a:latin typeface="+mn-lt"/>
                <a:ea typeface="+mn-ea"/>
                <a:cs typeface="+mn-cs"/>
              </a:rPr>
              <a:t>• Change </a:t>
            </a:r>
            <a:r>
              <a:rPr lang="en-US" sz="1200" b="1" i="0" u="none" strike="noStrike" kern="1200" baseline="0" dirty="0">
                <a:solidFill>
                  <a:schemeClr val="tx1"/>
                </a:solidFill>
                <a:latin typeface="+mn-lt"/>
                <a:ea typeface="+mn-ea"/>
                <a:cs typeface="+mn-cs"/>
              </a:rPr>
              <a:t>Data Type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Select Sales query </a:t>
            </a:r>
          </a:p>
          <a:p>
            <a:r>
              <a:rPr lang="en-US" sz="1200" b="0" i="0" u="none" strike="noStrike" kern="1200" baseline="0" dirty="0">
                <a:solidFill>
                  <a:schemeClr val="tx1"/>
                </a:solidFill>
                <a:latin typeface="+mn-lt"/>
                <a:ea typeface="+mn-ea"/>
                <a:cs typeface="+mn-cs"/>
              </a:rPr>
              <a:t>83. Walk through the </a:t>
            </a:r>
            <a:r>
              <a:rPr lang="en-US" sz="1200" b="1" i="0" u="none" strike="noStrike" kern="1200" baseline="0" dirty="0">
                <a:solidFill>
                  <a:schemeClr val="tx1"/>
                </a:solidFill>
                <a:latin typeface="+mn-lt"/>
                <a:ea typeface="+mn-ea"/>
                <a:cs typeface="+mn-cs"/>
              </a:rPr>
              <a:t>APPLIED STEPS </a:t>
            </a:r>
          </a:p>
          <a:p>
            <a:r>
              <a:rPr lang="en-US" sz="1200" b="0" i="0" u="none" strike="noStrike" kern="1200" baseline="0" dirty="0">
                <a:solidFill>
                  <a:schemeClr val="tx1"/>
                </a:solidFill>
                <a:latin typeface="+mn-lt"/>
                <a:ea typeface="+mn-ea"/>
                <a:cs typeface="+mn-cs"/>
              </a:rPr>
              <a:t>84. Talk about Append in Sales and difference between Append and Merge </a:t>
            </a:r>
          </a:p>
          <a:p>
            <a:r>
              <a:rPr lang="en-US" sz="1200" b="0" i="0" u="none" strike="noStrike" kern="1200" baseline="0" dirty="0">
                <a:solidFill>
                  <a:schemeClr val="tx1"/>
                </a:solidFill>
                <a:latin typeface="+mn-lt"/>
                <a:ea typeface="+mn-ea"/>
                <a:cs typeface="+mn-cs"/>
              </a:rPr>
              <a:t>85. Talk about Add Conditional column </a:t>
            </a:r>
          </a:p>
          <a:p>
            <a:r>
              <a:rPr lang="en-US" sz="1200" b="0" i="0" u="none" strike="noStrike" kern="1200" baseline="0" dirty="0">
                <a:solidFill>
                  <a:schemeClr val="tx1"/>
                </a:solidFill>
                <a:latin typeface="+mn-lt"/>
                <a:ea typeface="+mn-ea"/>
                <a:cs typeface="+mn-cs"/>
              </a:rPr>
              <a:t>86. Talk about Query Dependencies </a:t>
            </a:r>
          </a:p>
          <a:p>
            <a:r>
              <a:rPr lang="en-US" sz="1200" b="0" i="0" u="none" strike="noStrike" kern="1200" baseline="0" dirty="0">
                <a:solidFill>
                  <a:schemeClr val="tx1"/>
                </a:solidFill>
                <a:latin typeface="+mn-lt"/>
                <a:ea typeface="+mn-ea"/>
                <a:cs typeface="+mn-cs"/>
              </a:rPr>
              <a:t>87. Close Query Editor window </a:t>
            </a:r>
          </a:p>
          <a:p>
            <a:r>
              <a:rPr lang="en-US" sz="1200" b="0" i="0" u="none" strike="noStrike" kern="1200" baseline="0" dirty="0">
                <a:solidFill>
                  <a:schemeClr val="tx1"/>
                </a:solidFill>
                <a:latin typeface="+mn-lt"/>
                <a:ea typeface="+mn-ea"/>
                <a:cs typeface="+mn-cs"/>
              </a:rPr>
              <a:t>88. If you have time, talk about data transformations performed in the other queri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78978736"/>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Transform menu</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31193415"/>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a:t>
            </a:r>
            <a:r>
              <a:rPr lang="en-US" sz="1200" b="1" i="0" u="none" strike="noStrike" kern="1200" baseline="0" dirty="0">
                <a:solidFill>
                  <a:schemeClr val="tx1"/>
                </a:solidFill>
                <a:latin typeface="+mn-lt"/>
                <a:ea typeface="+mn-ea"/>
                <a:cs typeface="+mn-cs"/>
              </a:rPr>
              <a:t>Add Column menu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40869978"/>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a:t>
            </a:r>
            <a:r>
              <a:rPr lang="en-US" sz="1200" b="1" i="0" u="none" strike="noStrike" kern="1200" baseline="0" dirty="0">
                <a:solidFill>
                  <a:schemeClr val="tx1"/>
                </a:solidFill>
                <a:latin typeface="+mn-lt"/>
                <a:ea typeface="+mn-ea"/>
                <a:cs typeface="+mn-cs"/>
              </a:rPr>
              <a:t>Relationships</a:t>
            </a:r>
            <a:r>
              <a:rPr lang="en-US" sz="1200" b="0" i="0" u="none" strike="noStrike" kern="1200" baseline="0" dirty="0">
                <a:solidFill>
                  <a:schemeClr val="tx1"/>
                </a:solidFill>
                <a:latin typeface="+mn-lt"/>
                <a:ea typeface="+mn-ea"/>
                <a:cs typeface="+mn-cs"/>
              </a:rPr>
              <a:t> section </a:t>
            </a:r>
          </a:p>
          <a:p>
            <a:r>
              <a:rPr lang="en-US" sz="1200" b="0" i="0" u="none" strike="noStrike" kern="1200" baseline="0" dirty="0">
                <a:solidFill>
                  <a:schemeClr val="tx1"/>
                </a:solidFill>
                <a:latin typeface="+mn-lt"/>
                <a:ea typeface="+mn-ea"/>
                <a:cs typeface="+mn-cs"/>
              </a:rPr>
              <a:t>90. Talk about the relationships that are created to connect all the queries </a:t>
            </a:r>
          </a:p>
          <a:p>
            <a:r>
              <a:rPr lang="en-US" sz="1200" b="0" i="0" u="none" strike="noStrike" kern="1200" baseline="0" dirty="0">
                <a:solidFill>
                  <a:schemeClr val="tx1"/>
                </a:solidFill>
                <a:latin typeface="+mn-lt"/>
                <a:ea typeface="+mn-ea"/>
                <a:cs typeface="+mn-cs"/>
              </a:rPr>
              <a:t>91. </a:t>
            </a:r>
            <a:r>
              <a:rPr lang="en-US" sz="1200" b="1" i="0" u="none" strike="noStrike" kern="1200" baseline="0" dirty="0">
                <a:solidFill>
                  <a:schemeClr val="tx1"/>
                </a:solidFill>
                <a:latin typeface="+mn-lt"/>
                <a:ea typeface="+mn-ea"/>
                <a:cs typeface="+mn-cs"/>
              </a:rPr>
              <a:t>Click on Manage Relationships and show the dialogue </a:t>
            </a:r>
          </a:p>
          <a:p>
            <a:r>
              <a:rPr lang="en-US" sz="1200" b="0" i="0" u="none" strike="noStrike" kern="1200" baseline="0" dirty="0">
                <a:solidFill>
                  <a:schemeClr val="tx1"/>
                </a:solidFill>
                <a:latin typeface="+mn-lt"/>
                <a:ea typeface="+mn-ea"/>
                <a:cs typeface="+mn-cs"/>
              </a:rPr>
              <a:t>92. </a:t>
            </a:r>
            <a:r>
              <a:rPr lang="en-US" sz="1200" b="1" i="0" u="none" strike="noStrike" kern="1200" baseline="0" dirty="0">
                <a:solidFill>
                  <a:schemeClr val="tx1"/>
                </a:solidFill>
                <a:latin typeface="+mn-lt"/>
                <a:ea typeface="+mn-ea"/>
                <a:cs typeface="+mn-cs"/>
              </a:rPr>
              <a:t>Talk about 1:1 and 1:M relationships </a:t>
            </a:r>
            <a:r>
              <a:rPr lang="en-US" sz="1200" b="0" i="0" u="none" strike="noStrike" kern="1200" baseline="0" dirty="0">
                <a:solidFill>
                  <a:schemeClr val="tx1"/>
                </a:solidFill>
                <a:latin typeface="+mn-lt"/>
                <a:ea typeface="+mn-ea"/>
                <a:cs typeface="+mn-cs"/>
              </a:rPr>
              <a:t>that are supported by Power BI Desktop </a:t>
            </a:r>
          </a:p>
          <a:p>
            <a:r>
              <a:rPr lang="en-US" sz="1200" b="0" i="0" u="none" strike="noStrike" kern="1200" baseline="0" dirty="0">
                <a:solidFill>
                  <a:schemeClr val="tx1"/>
                </a:solidFill>
                <a:latin typeface="+mn-lt"/>
                <a:ea typeface="+mn-ea"/>
                <a:cs typeface="+mn-cs"/>
              </a:rPr>
              <a:t>93. Depending on the audience might want to talk about bi-direction relationship </a:t>
            </a:r>
          </a:p>
          <a:p>
            <a:r>
              <a:rPr lang="en-US" sz="1200" b="0" i="0" u="none" strike="noStrike" kern="1200" baseline="0" dirty="0">
                <a:solidFill>
                  <a:schemeClr val="tx1"/>
                </a:solidFill>
                <a:latin typeface="+mn-lt"/>
                <a:ea typeface="+mn-ea"/>
                <a:cs typeface="+mn-cs"/>
              </a:rPr>
              <a:t>94. Talk about </a:t>
            </a:r>
            <a:r>
              <a:rPr lang="en-US" sz="1200" b="1" i="0" u="none" strike="noStrike" kern="1200" baseline="0" dirty="0">
                <a:solidFill>
                  <a:schemeClr val="tx1"/>
                </a:solidFill>
                <a:latin typeface="+mn-lt"/>
                <a:ea typeface="+mn-ea"/>
                <a:cs typeface="+mn-cs"/>
              </a:rPr>
              <a:t>Synonyms</a:t>
            </a:r>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70632293"/>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768405"/>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95. Navigate back Reports section, </a:t>
            </a:r>
          </a:p>
          <a:p>
            <a:r>
              <a:rPr lang="en-US" sz="1200" b="0" i="0" u="none" strike="noStrike" kern="1200" baseline="0" dirty="0">
                <a:solidFill>
                  <a:schemeClr val="tx1"/>
                </a:solidFill>
                <a:latin typeface="+mn-lt"/>
                <a:ea typeface="+mn-ea"/>
                <a:cs typeface="+mn-cs"/>
              </a:rPr>
              <a:t>96. Talk about Fields and Visualization section </a:t>
            </a:r>
          </a:p>
          <a:p>
            <a:r>
              <a:rPr lang="en-US" sz="1200" b="0" i="0" u="none" strike="noStrike" kern="1200" baseline="0" dirty="0">
                <a:solidFill>
                  <a:schemeClr val="tx1"/>
                </a:solidFill>
                <a:latin typeface="+mn-lt"/>
                <a:ea typeface="+mn-ea"/>
                <a:cs typeface="+mn-cs"/>
              </a:rPr>
              <a:t>97. Talk about ability to Hide/Unhide fields and tabl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9649343"/>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By </a:t>
            </a:r>
            <a:r>
              <a:rPr lang="en-US" sz="1200" b="1" i="0" u="none" strike="noStrike" kern="1200" baseline="0" dirty="0">
                <a:solidFill>
                  <a:schemeClr val="tx1"/>
                </a:solidFill>
                <a:latin typeface="+mn-lt"/>
                <a:ea typeface="+mn-ea"/>
                <a:cs typeface="+mn-cs"/>
              </a:rPr>
              <a:t>Manufacturer report page </a:t>
            </a:r>
          </a:p>
          <a:p>
            <a:r>
              <a:rPr lang="en-US" sz="1200" b="0" i="0" u="none" strike="noStrike" kern="1200" baseline="0" dirty="0">
                <a:solidFill>
                  <a:schemeClr val="tx1"/>
                </a:solidFill>
                <a:latin typeface="+mn-lt"/>
                <a:ea typeface="+mn-ea"/>
                <a:cs typeface="+mn-cs"/>
              </a:rPr>
              <a:t>Notice we already have a drill through by Country. </a:t>
            </a:r>
          </a:p>
          <a:p>
            <a:r>
              <a:rPr lang="en-US" sz="1200" b="0" i="0" u="none" strike="noStrike" kern="1200" baseline="0" dirty="0">
                <a:solidFill>
                  <a:schemeClr val="tx1"/>
                </a:solidFill>
                <a:latin typeface="+mn-lt"/>
                <a:ea typeface="+mn-ea"/>
                <a:cs typeface="+mn-cs"/>
              </a:rPr>
              <a:t>This is known as a drill through report, but we also want to drill through by Manufactu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1375391"/>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imply drag the Manufacture field/column into drill through</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And </a:t>
            </a:r>
            <a:r>
              <a:rPr lang="en-US" sz="1200" b="1" i="0" u="none" strike="noStrike" kern="1200" baseline="0" dirty="0">
                <a:solidFill>
                  <a:schemeClr val="tx1"/>
                </a:solidFill>
                <a:latin typeface="+mn-lt"/>
                <a:ea typeface="+mn-ea"/>
                <a:cs typeface="+mn-cs"/>
              </a:rPr>
              <a:t>now we can drill through into this page</a:t>
            </a:r>
            <a:r>
              <a:rPr lang="en-US" sz="1200" b="0" i="0" u="none" strike="noStrike" kern="1200" baseline="0" dirty="0">
                <a:solidFill>
                  <a:schemeClr val="tx1"/>
                </a:solidFill>
                <a:latin typeface="+mn-lt"/>
                <a:ea typeface="+mn-ea"/>
                <a:cs typeface="+mn-cs"/>
              </a:rPr>
              <a:t> by Manufacture.</a:t>
            </a:r>
          </a:p>
          <a:p>
            <a:r>
              <a:rPr lang="en-US" sz="1200" b="1" i="0" u="none" strike="noStrike" kern="1200" baseline="0" dirty="0">
                <a:solidFill>
                  <a:schemeClr val="tx1"/>
                </a:solidFill>
                <a:latin typeface="+mn-lt"/>
                <a:ea typeface="+mn-ea"/>
                <a:cs typeface="+mn-cs"/>
              </a:rPr>
              <a:t>Do not apply any filters </a:t>
            </a:r>
            <a:r>
              <a:rPr lang="en-US" sz="1200" b="0" i="0" u="none" strike="noStrike" kern="1200" baseline="0" dirty="0">
                <a:solidFill>
                  <a:schemeClr val="tx1"/>
                </a:solidFill>
                <a:latin typeface="+mn-lt"/>
                <a:ea typeface="+mn-ea"/>
                <a:cs typeface="+mn-cs"/>
              </a:rPr>
              <a:t>for manufacture at this point.</a:t>
            </a:r>
          </a:p>
          <a:p>
            <a:r>
              <a:rPr lang="en-US" sz="1200" b="0" i="0" u="none" strike="noStrike" kern="1200" baseline="0" dirty="0">
                <a:solidFill>
                  <a:schemeClr val="tx1"/>
                </a:solidFill>
                <a:latin typeface="+mn-lt"/>
                <a:ea typeface="+mn-ea"/>
                <a:cs typeface="+mn-cs"/>
              </a:rPr>
              <a:t>Note also the </a:t>
            </a:r>
            <a:r>
              <a:rPr lang="en-US" sz="1200" b="1" i="0" u="none" strike="noStrike" kern="1200" baseline="0" dirty="0">
                <a:solidFill>
                  <a:schemeClr val="tx1"/>
                </a:solidFill>
                <a:latin typeface="+mn-lt"/>
                <a:ea typeface="+mn-ea"/>
                <a:cs typeface="+mn-cs"/>
              </a:rPr>
              <a:t>Card Display says Manufacture Analysis</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75133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ard Display is not filtered at this point is for ALL manufactures.</a:t>
            </a:r>
          </a:p>
          <a:p>
            <a:r>
              <a:rPr lang="en-US" sz="1200" b="0" i="0" u="none" strike="noStrike" kern="1200" baseline="0" dirty="0">
                <a:solidFill>
                  <a:schemeClr val="tx1"/>
                </a:solidFill>
                <a:latin typeface="+mn-lt"/>
                <a:ea typeface="+mn-ea"/>
                <a:cs typeface="+mn-cs"/>
              </a:rPr>
              <a:t>We can go back to the Market Share page, right click a manufacture </a:t>
            </a:r>
          </a:p>
          <a:p>
            <a:r>
              <a:rPr lang="en-US" sz="1200" b="0" i="0" u="none" strike="noStrike" kern="1200" baseline="0" dirty="0">
                <a:solidFill>
                  <a:schemeClr val="tx1"/>
                </a:solidFill>
                <a:latin typeface="+mn-lt"/>
                <a:ea typeface="+mn-ea"/>
                <a:cs typeface="+mn-cs"/>
              </a:rPr>
              <a:t>and Pass-Through the value into this page.</a:t>
            </a:r>
          </a:p>
          <a:p>
            <a:r>
              <a:rPr lang="en-US" sz="1200" b="0" i="0" u="none" strike="noStrike" kern="1200" baseline="0" dirty="0">
                <a:solidFill>
                  <a:schemeClr val="tx1"/>
                </a:solidFill>
                <a:latin typeface="+mn-lt"/>
                <a:ea typeface="+mn-ea"/>
                <a:cs typeface="+mn-cs"/>
              </a:rPr>
              <a:t>Let’s go back to Market Share report page and see that in action.</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72810391"/>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in % Growth by Manufacturer column char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the best growth. Let’s investigat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08923189"/>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ight click on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bar and select </a:t>
            </a:r>
            <a:r>
              <a:rPr lang="en-US" sz="1200" b="0" i="0" u="none" strike="noStrike" kern="1200" baseline="0" dirty="0" err="1">
                <a:solidFill>
                  <a:schemeClr val="tx1"/>
                </a:solidFill>
                <a:latin typeface="+mn-lt"/>
                <a:ea typeface="+mn-ea"/>
                <a:cs typeface="+mn-cs"/>
              </a:rPr>
              <a:t>Drillthrough</a:t>
            </a:r>
            <a:r>
              <a:rPr lang="en-US" sz="1200" b="0" i="0" u="none" strike="noStrike" kern="1200" baseline="0" dirty="0">
                <a:solidFill>
                  <a:schemeClr val="tx1"/>
                </a:solidFill>
                <a:latin typeface="+mn-lt"/>
                <a:ea typeface="+mn-ea"/>
                <a:cs typeface="+mn-cs"/>
              </a:rPr>
              <a:t> -&gt; By Manufacturer to be navigated to By Manufacturer pag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446050"/>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Focus mod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31854847"/>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se icons show that there is a hierarchy of these 3 fields (Products -&gt; Segments -&gt; Category)</a:t>
            </a:r>
          </a:p>
          <a:p>
            <a:r>
              <a:rPr lang="en-US" sz="1200" b="0" i="0" u="none" strike="noStrike" kern="1200" baseline="0" dirty="0">
                <a:solidFill>
                  <a:schemeClr val="tx1"/>
                </a:solidFill>
                <a:latin typeface="+mn-lt"/>
                <a:ea typeface="+mn-ea"/>
                <a:cs typeface="+mn-cs"/>
              </a:rPr>
              <a:t>They also indicate whether we’ve drilled down or up on this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1239783"/>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New Page. Leave it as Page 1 for now.</a:t>
            </a:r>
          </a:p>
          <a:p>
            <a:r>
              <a:rPr lang="en-US" sz="1200" b="0" i="0" u="none" strike="noStrike" kern="1200" baseline="0" dirty="0">
                <a:solidFill>
                  <a:schemeClr val="tx1"/>
                </a:solidFill>
                <a:latin typeface="+mn-lt"/>
                <a:ea typeface="+mn-ea"/>
                <a:cs typeface="+mn-cs"/>
              </a:rPr>
              <a:t>From </a:t>
            </a:r>
            <a:r>
              <a:rPr lang="en-US" sz="1200" b="1" i="0" u="none" strike="noStrike" kern="1200" baseline="0" dirty="0">
                <a:solidFill>
                  <a:schemeClr val="tx1"/>
                </a:solidFill>
                <a:latin typeface="+mn-lt"/>
                <a:ea typeface="+mn-ea"/>
                <a:cs typeface="+mn-cs"/>
              </a:rPr>
              <a:t>By Manufacturer </a:t>
            </a:r>
            <a:r>
              <a:rPr lang="en-US" sz="1200" b="0" i="0" u="none" strike="noStrike" kern="1200" baseline="0" dirty="0">
                <a:solidFill>
                  <a:schemeClr val="tx1"/>
                </a:solidFill>
                <a:latin typeface="+mn-lt"/>
                <a:ea typeface="+mn-ea"/>
                <a:cs typeface="+mn-cs"/>
              </a:rPr>
              <a:t>page </a:t>
            </a:r>
            <a:r>
              <a:rPr lang="en-US" sz="1200" b="1" i="0" u="none" strike="noStrike" kern="1200" baseline="0" dirty="0">
                <a:solidFill>
                  <a:schemeClr val="tx1"/>
                </a:solidFill>
                <a:latin typeface="+mn-lt"/>
                <a:ea typeface="+mn-ea"/>
                <a:cs typeface="+mn-cs"/>
              </a:rPr>
              <a:t>copy the</a:t>
            </a:r>
            <a:r>
              <a:rPr lang="en-US" sz="1200" b="0" i="0" u="none" strike="noStrike" kern="1200" baseline="0" dirty="0">
                <a:solidFill>
                  <a:schemeClr val="tx1"/>
                </a:solidFill>
                <a:latin typeface="+mn-lt"/>
                <a:ea typeface="+mn-ea"/>
                <a:cs typeface="+mn-cs"/>
              </a:rPr>
              <a:t> Manufacturer </a:t>
            </a:r>
            <a:r>
              <a:rPr lang="en-US" sz="1200" b="1" i="0" u="none" strike="noStrike" kern="1200" baseline="0" dirty="0">
                <a:solidFill>
                  <a:schemeClr val="tx1"/>
                </a:solidFill>
                <a:latin typeface="+mn-lt"/>
                <a:ea typeface="+mn-ea"/>
                <a:cs typeface="+mn-cs"/>
              </a:rPr>
              <a:t>logo slicer</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0197162"/>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copy the logo slicer </a:t>
            </a:r>
            <a:r>
              <a:rPr lang="en-US" sz="1200" b="1" i="0" u="none" strike="noStrike" kern="1200" baseline="0" dirty="0">
                <a:solidFill>
                  <a:schemeClr val="tx1"/>
                </a:solidFill>
                <a:latin typeface="+mn-lt"/>
                <a:ea typeface="+mn-ea"/>
                <a:cs typeface="+mn-cs"/>
              </a:rPr>
              <a:t>Ctrl + click the arrow </a:t>
            </a:r>
            <a:r>
              <a:rPr lang="en-US" sz="1200" b="0" i="0" u="none" strike="noStrike" kern="1200" baseline="0" dirty="0">
                <a:solidFill>
                  <a:schemeClr val="tx1"/>
                </a:solidFill>
                <a:latin typeface="+mn-lt"/>
                <a:ea typeface="+mn-ea"/>
                <a:cs typeface="+mn-cs"/>
              </a:rPr>
              <a:t>to show the logos and click </a:t>
            </a:r>
            <a:r>
              <a:rPr lang="en-US" sz="1200" b="1" i="0" u="none" strike="noStrike" kern="1200" baseline="0" dirty="0">
                <a:solidFill>
                  <a:schemeClr val="tx1"/>
                </a:solidFill>
                <a:latin typeface="+mn-lt"/>
                <a:ea typeface="+mn-ea"/>
                <a:cs typeface="+mn-cs"/>
              </a:rPr>
              <a:t>Copy</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56431000"/>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aste, and Sync the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313465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View, check Sync slicers, this will the Sync Slicer panel.</a:t>
            </a:r>
          </a:p>
          <a:p>
            <a:r>
              <a:rPr lang="en-US" sz="1200" b="0" i="0" u="none" strike="noStrike" kern="1200" baseline="0" dirty="0">
                <a:solidFill>
                  <a:schemeClr val="tx1"/>
                </a:solidFill>
                <a:latin typeface="+mn-lt"/>
                <a:ea typeface="+mn-ea"/>
                <a:cs typeface="+mn-cs"/>
              </a:rPr>
              <a:t>Meaning whatever we choose this visual will be synced back to the same visual slicer in the By Manufacture page.</a:t>
            </a:r>
          </a:p>
          <a:p>
            <a:r>
              <a:rPr lang="en-US" sz="1200" b="0" i="0" u="none" strike="noStrike" kern="1200" baseline="0" dirty="0">
                <a:solidFill>
                  <a:schemeClr val="tx1"/>
                </a:solidFill>
                <a:latin typeface="+mn-lt"/>
                <a:ea typeface="+mn-ea"/>
                <a:cs typeface="+mn-cs"/>
              </a:rPr>
              <a:t>Affects the assigned pages.</a:t>
            </a:r>
          </a:p>
          <a:p>
            <a:r>
              <a:rPr lang="en-US" sz="1200" b="0" i="0" u="none" strike="noStrike" kern="1200" baseline="0" dirty="0">
                <a:solidFill>
                  <a:schemeClr val="tx1"/>
                </a:solidFill>
                <a:latin typeface="+mn-lt"/>
                <a:ea typeface="+mn-ea"/>
                <a:cs typeface="+mn-cs"/>
              </a:rPr>
              <a:t>117. Filter by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5880421"/>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use the Q&amp;A feature by click </a:t>
            </a:r>
            <a:r>
              <a:rPr lang="en-US" sz="1200" b="1" i="0" u="none" strike="noStrike" kern="1200" baseline="0" dirty="0">
                <a:solidFill>
                  <a:schemeClr val="tx1"/>
                </a:solidFill>
                <a:latin typeface="+mn-lt"/>
                <a:ea typeface="+mn-ea"/>
                <a:cs typeface="+mn-cs"/>
              </a:rPr>
              <a:t>Ask A Question </a:t>
            </a:r>
            <a:r>
              <a:rPr lang="en-US" sz="1200" b="0" i="0" u="none" strike="noStrike" kern="1200" baseline="0" dirty="0">
                <a:solidFill>
                  <a:schemeClr val="tx1"/>
                </a:solidFill>
                <a:latin typeface="+mn-lt"/>
                <a:ea typeface="+mn-ea"/>
                <a:cs typeface="+mn-cs"/>
              </a:rPr>
              <a:t>or simply double click on the canva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78053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4</a:t>
            </a:fld>
            <a:endParaRPr lang="en-US"/>
          </a:p>
        </p:txBody>
      </p:sp>
    </p:spTree>
    <p:extLst>
      <p:ext uri="{BB962C8B-B14F-4D97-AF65-F5344CB8AC3E}">
        <p14:creationId xmlns:p14="http://schemas.microsoft.com/office/powerpoint/2010/main" val="17805341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Enter % Growth by Country </a:t>
            </a:r>
          </a:p>
          <a:p>
            <a:r>
              <a:rPr lang="en-US" sz="1200" b="0" i="0" u="none" strike="noStrike" kern="1200" baseline="0" dirty="0">
                <a:solidFill>
                  <a:schemeClr val="tx1"/>
                </a:solidFill>
                <a:latin typeface="+mn-lt"/>
                <a:ea typeface="+mn-ea"/>
                <a:cs typeface="+mn-cs"/>
              </a:rPr>
              <a:t>Notic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a </a:t>
            </a:r>
            <a:r>
              <a:rPr lang="en-US" sz="1200" b="1" i="0" u="none" strike="noStrike" kern="1200" baseline="0" dirty="0">
                <a:solidFill>
                  <a:schemeClr val="tx1"/>
                </a:solidFill>
                <a:latin typeface="+mn-lt"/>
                <a:ea typeface="+mn-ea"/>
                <a:cs typeface="+mn-cs"/>
              </a:rPr>
              <a:t>big presence in Mexico </a:t>
            </a:r>
          </a:p>
          <a:p>
            <a:r>
              <a:rPr lang="en-US" sz="1200" b="0" i="0" u="none" strike="noStrike" kern="1200" baseline="0" dirty="0">
                <a:solidFill>
                  <a:schemeClr val="tx1"/>
                </a:solidFill>
                <a:latin typeface="+mn-lt"/>
                <a:ea typeface="+mn-ea"/>
                <a:cs typeface="+mn-cs"/>
              </a:rPr>
              <a:t>Resize it to see the distribution better and lets add a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616173"/>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Slicer and lets filter by Yea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76293599"/>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is is a </a:t>
            </a:r>
            <a:r>
              <a:rPr lang="en-US" sz="1200" b="1" i="0" u="none" strike="noStrike" kern="1200" baseline="0" dirty="0">
                <a:solidFill>
                  <a:schemeClr val="tx1"/>
                </a:solidFill>
                <a:latin typeface="+mn-lt"/>
                <a:ea typeface="+mn-ea"/>
                <a:cs typeface="+mn-cs"/>
              </a:rPr>
              <a:t>numeric rage </a:t>
            </a:r>
            <a:r>
              <a:rPr lang="en-US" sz="1200" b="0" i="0" u="none" strike="noStrike" kern="1200" baseline="0" dirty="0">
                <a:solidFill>
                  <a:schemeClr val="tx1"/>
                </a:solidFill>
                <a:latin typeface="+mn-lt"/>
                <a:ea typeface="+mn-ea"/>
                <a:cs typeface="+mn-cs"/>
              </a:rPr>
              <a:t>slicer, notice how it affects the other visual % Growth by Country on our page.</a:t>
            </a:r>
          </a:p>
          <a:p>
            <a:r>
              <a:rPr lang="en-US" sz="1200" b="0" i="0" u="none" strike="noStrike" kern="1200" baseline="0" dirty="0">
                <a:solidFill>
                  <a:schemeClr val="tx1"/>
                </a:solidFill>
                <a:latin typeface="+mn-lt"/>
                <a:ea typeface="+mn-ea"/>
                <a:cs typeface="+mn-cs"/>
              </a:rPr>
              <a:t>We can switch this to a drop down or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5013827"/>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o change the type of slicer and choose Dropdow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76413"/>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ropdown is nice to save space on the canvas. </a:t>
            </a:r>
          </a:p>
          <a:p>
            <a:r>
              <a:rPr lang="en-US" sz="1200" b="0" i="0" u="none" strike="noStrike" kern="1200" baseline="0" dirty="0">
                <a:solidFill>
                  <a:schemeClr val="tx1"/>
                </a:solidFill>
                <a:latin typeface="+mn-lt"/>
                <a:ea typeface="+mn-ea"/>
                <a:cs typeface="+mn-cs"/>
              </a:rPr>
              <a:t>But a list can be made to look very interes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3301229"/>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2017 in the slicer.</a:t>
            </a:r>
          </a:p>
          <a:p>
            <a:r>
              <a:rPr lang="en-US" sz="1200" b="0" i="0" u="none" strike="noStrike" kern="1200" baseline="0" dirty="0">
                <a:solidFill>
                  <a:schemeClr val="tx1"/>
                </a:solidFill>
                <a:latin typeface="+mn-lt"/>
                <a:ea typeface="+mn-ea"/>
                <a:cs typeface="+mn-cs"/>
              </a:rPr>
              <a:t>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d a big impact in Nigeria in 2017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4496100"/>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set the type of slicer to a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73394588"/>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and change the Orientation from Vertical to Horizontal.</a:t>
            </a:r>
          </a:p>
          <a:p>
            <a:r>
              <a:rPr lang="en-US" sz="1200" b="0" i="0" u="none" strike="noStrike" kern="1200" baseline="0" dirty="0">
                <a:solidFill>
                  <a:schemeClr val="tx1"/>
                </a:solidFill>
                <a:latin typeface="+mn-lt"/>
                <a:ea typeface="+mn-ea"/>
                <a:cs typeface="+mn-cs"/>
              </a:rPr>
              <a:t>We get this look &amp; feel as if it was a </a:t>
            </a:r>
            <a:r>
              <a:rPr lang="en-US" sz="1200" b="1" i="0" u="none" strike="noStrike" kern="1200" baseline="0" dirty="0">
                <a:solidFill>
                  <a:schemeClr val="tx1"/>
                </a:solidFill>
                <a:latin typeface="+mn-lt"/>
                <a:ea typeface="+mn-ea"/>
                <a:cs typeface="+mn-cs"/>
              </a:rPr>
              <a:t>button</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86114327"/>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ere I’ve resized it and lets change the colo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96791"/>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under </a:t>
            </a:r>
            <a:r>
              <a:rPr lang="en-US" sz="1200" b="1" i="0" u="none" strike="noStrike" kern="1200" baseline="0" dirty="0">
                <a:solidFill>
                  <a:schemeClr val="tx1"/>
                </a:solidFill>
                <a:latin typeface="+mn-lt"/>
                <a:ea typeface="+mn-ea"/>
                <a:cs typeface="+mn-cs"/>
              </a:rPr>
              <a:t>Items</a:t>
            </a:r>
            <a:r>
              <a:rPr lang="en-US" sz="1200" b="0" i="0" u="none" strike="noStrike" kern="1200" baseline="0" dirty="0">
                <a:solidFill>
                  <a:schemeClr val="tx1"/>
                </a:solidFill>
                <a:latin typeface="+mn-lt"/>
                <a:ea typeface="+mn-ea"/>
                <a:cs typeface="+mn-cs"/>
              </a:rPr>
              <a:t>, change the </a:t>
            </a:r>
            <a:r>
              <a:rPr lang="en-US" sz="1200" b="1" i="0" u="none" strike="noStrike" kern="1200" baseline="0" dirty="0">
                <a:solidFill>
                  <a:schemeClr val="tx1"/>
                </a:solidFill>
                <a:latin typeface="+mn-lt"/>
                <a:ea typeface="+mn-ea"/>
                <a:cs typeface="+mn-cs"/>
              </a:rPr>
              <a:t>Font Color to white </a:t>
            </a:r>
            <a:r>
              <a:rPr lang="en-US" sz="1200" b="0" i="0" u="none" strike="noStrike" kern="1200" baseline="0" dirty="0">
                <a:solidFill>
                  <a:schemeClr val="tx1"/>
                </a:solidFill>
                <a:latin typeface="+mn-lt"/>
                <a:ea typeface="+mn-ea"/>
                <a:cs typeface="+mn-cs"/>
              </a:rPr>
              <a:t>to standout, and </a:t>
            </a:r>
            <a:r>
              <a:rPr lang="en-US" sz="1200" b="1" i="0" u="none" strike="noStrike" kern="1200" baseline="0" dirty="0">
                <a:solidFill>
                  <a:schemeClr val="tx1"/>
                </a:solidFill>
                <a:latin typeface="+mn-lt"/>
                <a:ea typeface="+mn-ea"/>
                <a:cs typeface="+mn-cs"/>
              </a:rPr>
              <a:t>Background</a:t>
            </a:r>
            <a:r>
              <a:rPr lang="en-US" sz="1200" b="0" i="0" u="none" strike="noStrike" kern="1200" baseline="0" dirty="0">
                <a:solidFill>
                  <a:schemeClr val="tx1"/>
                </a:solidFill>
                <a:latin typeface="+mn-lt"/>
                <a:ea typeface="+mn-ea"/>
                <a:cs typeface="+mn-cs"/>
              </a:rPr>
              <a:t> to </a:t>
            </a:r>
            <a:r>
              <a:rPr lang="en-US" sz="1200" b="1" i="0" u="none" strike="noStrike" kern="1200" baseline="0" dirty="0">
                <a:solidFill>
                  <a:schemeClr val="tx1"/>
                </a:solidFill>
                <a:latin typeface="+mn-lt"/>
                <a:ea typeface="+mn-ea"/>
                <a:cs typeface="+mn-cs"/>
              </a:rPr>
              <a:t>blue</a:t>
            </a:r>
            <a:r>
              <a:rPr lang="en-US" sz="1200" b="0" i="0" u="none" strike="noStrike" kern="1200" baseline="0" dirty="0">
                <a:solidFill>
                  <a:schemeClr val="tx1"/>
                </a:solidFill>
                <a:latin typeface="+mn-lt"/>
                <a:ea typeface="+mn-ea"/>
                <a:cs typeface="+mn-cs"/>
              </a:rPr>
              <a:t> as the other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646119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Ref: https</a:t>
            </a:r>
            <a:r>
              <a:rPr lang="en-US" dirty="0"/>
              <a:t>://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how Nigeria had negative growth in 2016.</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15600767"/>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18338701"/>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880308"/>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31. Apply conditional formatting on Revenue so that Revenue is formatted based on % Growth. Thus, highlighting capability to format based on another field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4325319"/>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down tick next to the Revenue value, select Conditional Formatting, Background colo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7413413"/>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hoose Based on % Growth </a:t>
            </a:r>
          </a:p>
          <a:p>
            <a:r>
              <a:rPr lang="en-US" sz="1200" b="0" i="0" u="none" strike="noStrike" kern="1200" baseline="0" dirty="0">
                <a:solidFill>
                  <a:schemeClr val="tx1"/>
                </a:solidFill>
                <a:latin typeface="+mn-lt"/>
                <a:ea typeface="+mn-ea"/>
                <a:cs typeface="+mn-cs"/>
              </a:rPr>
              <a:t>check Diverging to add a Mid value color. </a:t>
            </a:r>
          </a:p>
          <a:p>
            <a:r>
              <a:rPr lang="en-US" sz="1200" b="0" i="0" u="none" strike="noStrike" kern="1200" baseline="0" dirty="0">
                <a:solidFill>
                  <a:schemeClr val="tx1"/>
                </a:solidFill>
                <a:latin typeface="+mn-lt"/>
                <a:ea typeface="+mn-ea"/>
                <a:cs typeface="+mn-cs"/>
              </a:rPr>
              <a:t>And click OK.</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965238"/>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ve increased this visual’s Font size format for Column headers, Row headers, and Values to make this legible.</a:t>
            </a:r>
          </a:p>
          <a:p>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62931001"/>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Nigeria in the bar chart and 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growth in Urban and Youth Product categories. </a:t>
            </a:r>
          </a:p>
          <a:p>
            <a:r>
              <a:rPr lang="en-US" sz="1200" b="0" i="0" u="none" strike="noStrike" kern="1200" baseline="0" dirty="0">
                <a:solidFill>
                  <a:schemeClr val="tx1"/>
                </a:solidFill>
                <a:latin typeface="+mn-lt"/>
                <a:ea typeface="+mn-ea"/>
                <a:cs typeface="+mn-cs"/>
              </a:rPr>
              <a:t>You’d expect it to have been Rural, since it has a higher Revenue, but the contributors to the Growth were Urban and Youth.</a:t>
            </a:r>
          </a:p>
          <a:p>
            <a:r>
              <a:rPr lang="en-US" sz="1200" b="0" i="0" u="none" strike="noStrike" kern="1200" baseline="0" dirty="0">
                <a:solidFill>
                  <a:schemeClr val="tx1"/>
                </a:solidFill>
                <a:latin typeface="+mn-lt"/>
                <a:ea typeface="+mn-ea"/>
                <a:cs typeface="+mn-cs"/>
              </a:rPr>
              <a:t>133. investigate further by drilling down the Product hierarchy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028712"/>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Investigate further by drilling down the Product hierarch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We can see for the Urban category the contributors to the % Growth were Convenience and Extreme segment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8309986"/>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Move things around and resize them to give some room.</a:t>
            </a:r>
          </a:p>
          <a:p>
            <a:r>
              <a:rPr lang="en-US" sz="1200" b="0" i="0" u="none" strike="noStrike" kern="1200" baseline="0" dirty="0">
                <a:solidFill>
                  <a:schemeClr val="tx1"/>
                </a:solidFill>
                <a:latin typeface="+mn-lt"/>
                <a:ea typeface="+mn-ea"/>
                <a:cs typeface="+mn-cs"/>
              </a:rPr>
              <a:t>Then add a Scatter chart visual, and add Units to the X-Axi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210323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5291456"/>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et the calculation to Average of Units </a:t>
            </a:r>
            <a:r>
              <a:rPr lang="en-US" sz="1200" b="0" i="0" u="none" strike="noStrike" kern="1200" baseline="0" dirty="0">
                <a:solidFill>
                  <a:schemeClr val="tx1"/>
                </a:solidFill>
                <a:latin typeface="+mn-lt"/>
                <a:ea typeface="+mn-ea"/>
                <a:cs typeface="+mn-cs"/>
              </a:rPr>
              <a:t>instead of the default Su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1161498"/>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Do the same for </a:t>
            </a:r>
            <a:r>
              <a:rPr lang="en-US" sz="1200" b="1" i="0" u="none" strike="noStrike" kern="1200" baseline="0" dirty="0">
                <a:solidFill>
                  <a:schemeClr val="tx1"/>
                </a:solidFill>
                <a:latin typeface="+mn-lt"/>
                <a:ea typeface="+mn-ea"/>
                <a:cs typeface="+mn-cs"/>
              </a:rPr>
              <a:t>Average Revenue to he Y-Axi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1357357"/>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Fields section, add</a:t>
            </a:r>
            <a:r>
              <a:rPr lang="en-US" sz="1200" b="1" i="0" u="none" strike="noStrike" kern="1200" baseline="0" dirty="0">
                <a:solidFill>
                  <a:schemeClr val="tx1"/>
                </a:solidFill>
                <a:latin typeface="+mn-lt"/>
                <a:ea typeface="+mn-ea"/>
                <a:cs typeface="+mn-cs"/>
              </a:rPr>
              <a:t> Product </a:t>
            </a:r>
            <a:r>
              <a:rPr lang="en-US" sz="1200" b="0" i="0" u="none" strike="noStrike" kern="1200" baseline="0" dirty="0">
                <a:solidFill>
                  <a:schemeClr val="tx1"/>
                </a:solidFill>
                <a:latin typeface="+mn-lt"/>
                <a:ea typeface="+mn-ea"/>
                <a:cs typeface="+mn-cs"/>
              </a:rPr>
              <a:t>to</a:t>
            </a:r>
            <a:r>
              <a:rPr lang="en-US" sz="1200" b="1" i="0" u="none" strike="noStrike" kern="1200" baseline="0" dirty="0">
                <a:solidFill>
                  <a:schemeClr val="tx1"/>
                </a:solidFill>
                <a:latin typeface="+mn-lt"/>
                <a:ea typeface="+mn-ea"/>
                <a:cs typeface="+mn-cs"/>
              </a:rPr>
              <a:t> Detail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83135560"/>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leverage the Power BI underlying clustering algorithm by telling the Scatter chart to Automatically find clusters.</a:t>
            </a:r>
          </a:p>
          <a:p>
            <a:r>
              <a:rPr lang="en-US" sz="1200" b="0" i="0" u="none" strike="noStrike" kern="1200" baseline="0" dirty="0">
                <a:solidFill>
                  <a:schemeClr val="tx1"/>
                </a:solidFill>
                <a:latin typeface="+mn-lt"/>
                <a:ea typeface="+mn-ea"/>
                <a:cs typeface="+mn-cs"/>
              </a:rPr>
              <a:t>Click the ellipses on the top right of the visual for More Options and choose Automatically find cluste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11538764"/>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uster dialog opens. Change the number of clusters if you wish to, if not leave the default and click OK.</a:t>
            </a:r>
          </a:p>
          <a:p>
            <a:r>
              <a:rPr lang="en-US" sz="1200" b="0" i="0" u="none" strike="noStrike" kern="1200" baseline="0" dirty="0">
                <a:solidFill>
                  <a:schemeClr val="tx1"/>
                </a:solidFill>
                <a:latin typeface="+mn-lt"/>
                <a:ea typeface="+mn-ea"/>
                <a:cs typeface="+mn-cs"/>
              </a:rPr>
              <a:t>It’s going to say Working… for a momen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2559844"/>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the Scatter chart has updated to show clusters using the clustering algorithm.</a:t>
            </a:r>
          </a:p>
          <a:p>
            <a:r>
              <a:rPr lang="en-US" sz="1200" b="0" i="0" u="none" strike="noStrike" kern="1200" baseline="0" dirty="0">
                <a:solidFill>
                  <a:schemeClr val="tx1"/>
                </a:solidFill>
                <a:latin typeface="+mn-lt"/>
                <a:ea typeface="+mn-ea"/>
                <a:cs typeface="+mn-cs"/>
              </a:rPr>
              <a:t>You can use clusters to identify outliers and patter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0097347"/>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the outlier Cluster7 in the Scatter chart.</a:t>
            </a:r>
          </a:p>
          <a:p>
            <a:r>
              <a:rPr lang="en-US" sz="1200" b="0" i="0" u="none" strike="noStrike" kern="1200" baseline="0" dirty="0">
                <a:solidFill>
                  <a:schemeClr val="tx1"/>
                </a:solidFill>
                <a:latin typeface="+mn-lt"/>
                <a:ea typeface="+mn-ea"/>
                <a:cs typeface="+mn-cs"/>
              </a:rPr>
              <a:t>Notice they make a huge chunk of the revenue in Nigeria and Canada.</a:t>
            </a:r>
          </a:p>
          <a:p>
            <a:r>
              <a:rPr lang="en-US" sz="1200" b="0" i="0" u="none" strike="noStrike" kern="1200" baseline="0" dirty="0">
                <a:solidFill>
                  <a:schemeClr val="tx1"/>
                </a:solidFill>
                <a:latin typeface="+mn-lt"/>
                <a:ea typeface="+mn-ea"/>
                <a:cs typeface="+mn-cs"/>
              </a:rPr>
              <a:t>Something to look into…</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90831671"/>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we sort by Revenue the product matrix we se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UC-26 is the outlier in Cluster7 with the highest Average of Units and Average of Revenue in Nigeria and Canada.</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3992139"/>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So what’s going on and is there a correlation with social medi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124770"/>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e: This demo is to show slicers is available on numeric and dimension fields </a:t>
            </a:r>
          </a:p>
          <a:p>
            <a:r>
              <a:rPr lang="en-US" sz="1200" b="0" i="0" u="none" strike="noStrike" kern="1200" baseline="0" dirty="0">
                <a:solidFill>
                  <a:schemeClr val="tx1"/>
                </a:solidFill>
                <a:latin typeface="+mn-lt"/>
                <a:ea typeface="+mn-ea"/>
                <a:cs typeface="+mn-cs"/>
              </a:rPr>
              <a:t>147. Add a Revenue slicer </a:t>
            </a:r>
          </a:p>
          <a:p>
            <a:r>
              <a:rPr lang="en-US" sz="1200" b="0" i="0" u="none" strike="noStrike" kern="1200" baseline="0" dirty="0">
                <a:solidFill>
                  <a:schemeClr val="tx1"/>
                </a:solidFill>
                <a:latin typeface="+mn-lt"/>
                <a:ea typeface="+mn-ea"/>
                <a:cs typeface="+mn-cs"/>
              </a:rPr>
              <a:t>148. Let’s use the slicer to take out the outliers </a:t>
            </a:r>
          </a:p>
          <a:p>
            <a:r>
              <a:rPr lang="en-US" sz="1200" b="0" i="0" u="none" strike="noStrike" kern="1200" baseline="0" dirty="0">
                <a:solidFill>
                  <a:schemeClr val="tx1"/>
                </a:solidFill>
                <a:latin typeface="+mn-lt"/>
                <a:ea typeface="+mn-ea"/>
                <a:cs typeface="+mn-cs"/>
              </a:rPr>
              <a:t>149. Use the slicer to keep Revenue between 1000 and 40000. </a:t>
            </a:r>
          </a:p>
          <a:p>
            <a:r>
              <a:rPr lang="en-US" sz="1200" b="0" i="0" u="none" strike="noStrike" kern="1200" baseline="0" dirty="0">
                <a:solidFill>
                  <a:schemeClr val="tx1"/>
                </a:solidFill>
                <a:latin typeface="+mn-lt"/>
                <a:ea typeface="+mn-ea"/>
                <a:cs typeface="+mn-cs"/>
              </a:rPr>
              <a:t>150. Notice with this selection, Germany, Japan and Mexico have negative growth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81065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9010707"/>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75779125"/>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5405368"/>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9752839"/>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8311905"/>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5611707"/>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89493725"/>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4. Navigate to By Manufacturer report page </a:t>
            </a:r>
          </a:p>
          <a:p>
            <a:r>
              <a:rPr lang="en-US" sz="1200" b="0" i="0" u="none" strike="noStrike" kern="1200" baseline="0" dirty="0">
                <a:solidFill>
                  <a:schemeClr val="tx1"/>
                </a:solidFill>
                <a:latin typeface="+mn-lt"/>
                <a:ea typeface="+mn-ea"/>
                <a:cs typeface="+mn-cs"/>
              </a:rPr>
              <a:t>155. From the Revenue and % Growth by Year column chart right click on 2017 </a:t>
            </a:r>
          </a:p>
          <a:p>
            <a:r>
              <a:rPr lang="en-US" sz="1200" b="0" i="0" u="none" strike="noStrike" kern="1200" baseline="0" dirty="0">
                <a:solidFill>
                  <a:schemeClr val="tx1"/>
                </a:solidFill>
                <a:latin typeface="+mn-lt"/>
                <a:ea typeface="+mn-ea"/>
                <a:cs typeface="+mn-cs"/>
              </a:rPr>
              <a:t>156. Select Analyze -&gt; Explain Increase </a:t>
            </a:r>
          </a:p>
          <a:p>
            <a:r>
              <a:rPr lang="en-US" sz="1200" b="0" i="0" u="none" strike="noStrike" kern="1200" baseline="0" dirty="0">
                <a:solidFill>
                  <a:schemeClr val="tx1"/>
                </a:solidFill>
                <a:latin typeface="+mn-lt"/>
                <a:ea typeface="+mn-ea"/>
                <a:cs typeface="+mn-cs"/>
              </a:rPr>
              <a:t>157. Talk about Power BI’s capability to provide insight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0321172"/>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8. Talk about the Custom visuals available in Microsoft store </a:t>
            </a:r>
          </a:p>
          <a:p>
            <a:r>
              <a:rPr lang="en-US" sz="1200" b="0" i="0" u="none" strike="noStrike" kern="1200" baseline="0" dirty="0">
                <a:solidFill>
                  <a:schemeClr val="tx1"/>
                </a:solidFill>
                <a:latin typeface="+mn-lt"/>
                <a:ea typeface="+mn-ea"/>
                <a:cs typeface="+mn-cs"/>
              </a:rPr>
              <a:t>159. Use the Play axis custom visual to demo the feature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89051516"/>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Market Share report page </a:t>
            </a:r>
          </a:p>
          <a:p>
            <a:r>
              <a:rPr lang="en-US" sz="1200" b="0" i="0" u="none" strike="noStrike" kern="1200" baseline="0" dirty="0">
                <a:solidFill>
                  <a:schemeClr val="tx1"/>
                </a:solidFill>
                <a:latin typeface="+mn-lt"/>
                <a:ea typeface="+mn-ea"/>
                <a:cs typeface="+mn-cs"/>
              </a:rPr>
              <a:t>161. Using the Line chart, talk about the various analytics feature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09602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2. Using DIAD Final Report with </a:t>
            </a:r>
            <a:r>
              <a:rPr lang="en-US" sz="1200" b="0" i="0" u="none" strike="noStrike" kern="1200" baseline="0" dirty="0" err="1">
                <a:solidFill>
                  <a:schemeClr val="tx1"/>
                </a:solidFill>
                <a:latin typeface="+mn-lt"/>
                <a:ea typeface="+mn-ea"/>
                <a:cs typeface="+mn-cs"/>
              </a:rPr>
              <a:t>RLS.pbix</a:t>
            </a:r>
            <a:r>
              <a:rPr lang="en-US" sz="1200" b="0" i="0" u="none" strike="noStrike" kern="1200" baseline="0" dirty="0">
                <a:solidFill>
                  <a:schemeClr val="tx1"/>
                </a:solidFill>
                <a:latin typeface="+mn-lt"/>
                <a:ea typeface="+mn-ea"/>
                <a:cs typeface="+mn-cs"/>
              </a:rPr>
              <a:t> file talk about the ability to create and manage roles hence implemen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2419803"/>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3. From the View menu, talk about Grid lines, Snap to Grid which helps in formatting </a:t>
            </a:r>
          </a:p>
          <a:p>
            <a:r>
              <a:rPr lang="en-US" sz="1200" b="0" i="0" u="none" strike="noStrike" kern="1200" baseline="0" dirty="0">
                <a:solidFill>
                  <a:schemeClr val="tx1"/>
                </a:solidFill>
                <a:latin typeface="+mn-lt"/>
                <a:ea typeface="+mn-ea"/>
                <a:cs typeface="+mn-cs"/>
              </a:rPr>
              <a:t>164. Format the new page you created using this feature </a:t>
            </a:r>
          </a:p>
          <a:p>
            <a:r>
              <a:rPr lang="en-US" sz="1200" b="0" i="0" u="none" strike="noStrike" kern="1200" baseline="0" dirty="0">
                <a:solidFill>
                  <a:schemeClr val="tx1"/>
                </a:solidFill>
                <a:latin typeface="+mn-lt"/>
                <a:ea typeface="+mn-ea"/>
                <a:cs typeface="+mn-cs"/>
              </a:rPr>
              <a:t>165. </a:t>
            </a:r>
            <a:r>
              <a:rPr lang="en-US" sz="1200" b="1" i="0" u="none" strike="noStrike" kern="1200" baseline="0" dirty="0">
                <a:solidFill>
                  <a:schemeClr val="tx1"/>
                </a:solidFill>
                <a:latin typeface="+mn-lt"/>
                <a:ea typeface="+mn-ea"/>
                <a:cs typeface="+mn-cs"/>
              </a:rPr>
              <a:t>Phone Layou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61870813"/>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63248391"/>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Publish</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3571240"/>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64806648"/>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7739058"/>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 Sign into https://app.powerbi.com. Let’s talk about configuring the gateway </a:t>
            </a:r>
          </a:p>
          <a:p>
            <a:r>
              <a:rPr lang="en-US" sz="1200" b="0" i="0" u="none" strike="noStrike" kern="1200" baseline="0" dirty="0">
                <a:solidFill>
                  <a:schemeClr val="tx1"/>
                </a:solidFill>
                <a:latin typeface="+mn-lt"/>
                <a:ea typeface="+mn-ea"/>
                <a:cs typeface="+mn-cs"/>
              </a:rPr>
              <a:t>2. From the menu on the top right, click on the gear and select Manage gateways </a:t>
            </a:r>
          </a:p>
          <a:p>
            <a:r>
              <a:rPr lang="en-US" sz="1200" b="0" i="0" u="none" strike="noStrike" kern="1200" baseline="0" dirty="0">
                <a:solidFill>
                  <a:schemeClr val="tx1"/>
                </a:solidFill>
                <a:latin typeface="+mn-lt"/>
                <a:ea typeface="+mn-ea"/>
                <a:cs typeface="+mn-cs"/>
              </a:rPr>
              <a:t>3. You will be navigated to Gateways screen. Notice the gateway you added i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2218915"/>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1015145"/>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Using the line chart talk about the fact that </a:t>
            </a:r>
            <a:r>
              <a:rPr lang="en-US" sz="1200" b="0" i="0" u="none" strike="noStrike" kern="1200" baseline="0" dirty="0" err="1">
                <a:solidFill>
                  <a:schemeClr val="tx1"/>
                </a:solidFill>
                <a:latin typeface="+mn-lt"/>
                <a:ea typeface="+mn-ea"/>
                <a:cs typeface="+mn-cs"/>
              </a:rPr>
              <a:t>VanArsdel</a:t>
            </a:r>
            <a:r>
              <a:rPr lang="en-US" sz="1200" b="0" i="0" u="none" strike="noStrike" kern="1200" baseline="0" dirty="0">
                <a:solidFill>
                  <a:schemeClr val="tx1"/>
                </a:solidFill>
                <a:latin typeface="+mn-lt"/>
                <a:ea typeface="+mn-ea"/>
                <a:cs typeface="+mn-cs"/>
              </a:rPr>
              <a:t> has a large market share compared to other manufacturers. Also notice that sales are increasing Yo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6742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21713"/>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360334"/>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You will be navigated to Gateways screen. Notice the gateway added is available.</a:t>
            </a:r>
          </a:p>
          <a:p>
            <a:r>
              <a:rPr lang="en-US" sz="1200" b="0" i="0" u="none" strike="noStrike" kern="1200" baseline="0" dirty="0">
                <a:solidFill>
                  <a:schemeClr val="tx1"/>
                </a:solidFill>
                <a:latin typeface="+mn-lt"/>
                <a:ea typeface="+mn-ea"/>
                <a:cs typeface="+mn-cs"/>
              </a:rPr>
              <a:t>The data gateway acts as a bridge, providing quick and secure data transfer </a:t>
            </a:r>
            <a:r>
              <a:rPr lang="en-US" sz="1200" b="1" i="0" u="none" strike="noStrike" kern="1200" baseline="0" dirty="0">
                <a:solidFill>
                  <a:schemeClr val="tx1"/>
                </a:solidFill>
                <a:latin typeface="+mn-lt"/>
                <a:ea typeface="+mn-ea"/>
                <a:cs typeface="+mn-cs"/>
              </a:rPr>
              <a:t>between on-premises data (data that is not in the cloud) </a:t>
            </a:r>
            <a:r>
              <a:rPr lang="en-US" sz="1200" b="0" i="0" u="none" strike="noStrike" kern="1200" baseline="0" dirty="0">
                <a:solidFill>
                  <a:schemeClr val="tx1"/>
                </a:solidFill>
                <a:latin typeface="+mn-lt"/>
                <a:ea typeface="+mn-ea"/>
                <a:cs typeface="+mn-cs"/>
              </a:rPr>
              <a:t>and the Power BI, Microsoft Flow, Logic Apps, and PowerApps services.</a:t>
            </a:r>
          </a:p>
          <a:p>
            <a:r>
              <a:rPr lang="en-US" sz="1200" b="0" i="0" u="none" strike="noStrike" kern="1200" baseline="0" dirty="0">
                <a:solidFill>
                  <a:schemeClr val="tx1"/>
                </a:solidFill>
                <a:latin typeface="+mn-lt"/>
                <a:ea typeface="+mn-ea"/>
                <a:cs typeface="+mn-cs"/>
              </a:rPr>
              <a:t>4. On the right panel of the screen you can add more informatio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8564070"/>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On the right panel of the screen there is also an option to add Administrators for the gatewa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3729678"/>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a:t>
            </a:r>
            <a:r>
              <a:rPr lang="en-US" sz="1200" b="0" i="0" u="none" strike="noStrike" kern="1200" baseline="0" dirty="0" err="1">
                <a:solidFill>
                  <a:schemeClr val="tx1"/>
                </a:solidFill>
                <a:latin typeface="+mn-lt"/>
                <a:ea typeface="+mn-ea"/>
                <a:cs typeface="+mn-cs"/>
              </a:rPr>
              <a:t>elipses</a:t>
            </a:r>
            <a:r>
              <a:rPr lang="en-US" sz="1200" b="0" i="0" u="none" strike="noStrike" kern="1200" baseline="0" dirty="0">
                <a:solidFill>
                  <a:schemeClr val="tx1"/>
                </a:solidFill>
                <a:latin typeface="+mn-lt"/>
                <a:ea typeface="+mn-ea"/>
                <a:cs typeface="+mn-cs"/>
              </a:rPr>
              <a:t> to Add Data Sourc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810375"/>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you’re PC is on domain put the domain name in-front of the username </a:t>
            </a:r>
            <a:r>
              <a:rPr lang="en-US" sz="1200" b="0" i="0" u="none" strike="noStrike" kern="1200" baseline="0" dirty="0" err="1">
                <a:solidFill>
                  <a:schemeClr val="tx1"/>
                </a:solidFill>
                <a:latin typeface="+mn-lt"/>
                <a:ea typeface="+mn-ea"/>
                <a:cs typeface="+mn-cs"/>
              </a:rPr>
              <a:t>ie</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FleitasArts</a:t>
            </a:r>
            <a:r>
              <a:rPr lang="en-US" sz="1200" b="0" i="0" u="none" strike="noStrike" kern="1200" baseline="0" dirty="0">
                <a:solidFill>
                  <a:schemeClr val="tx1"/>
                </a:solidFill>
                <a:latin typeface="+mn-lt"/>
                <a:ea typeface="+mn-ea"/>
                <a:cs typeface="+mn-cs"/>
              </a:rPr>
              <a:t>\</a:t>
            </a:r>
            <a:r>
              <a:rPr lang="en-US" sz="1200" b="0" i="0" u="none" strike="noStrike" kern="1200" baseline="0" dirty="0" err="1">
                <a:solidFill>
                  <a:schemeClr val="tx1"/>
                </a:solidFill>
                <a:latin typeface="+mn-lt"/>
                <a:ea typeface="+mn-ea"/>
                <a:cs typeface="+mn-cs"/>
              </a:rPr>
              <a:t>hfleitas</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options under Advanced settings, Privacy Level default is Organizational.</a:t>
            </a:r>
          </a:p>
          <a:p>
            <a:r>
              <a:rPr lang="en-US" sz="1200" b="0" i="0" u="none" strike="noStrike" kern="1200" baseline="0" dirty="0">
                <a:solidFill>
                  <a:schemeClr val="tx1"/>
                </a:solidFill>
                <a:latin typeface="+mn-lt"/>
                <a:ea typeface="+mn-ea"/>
                <a:cs typeface="+mn-cs"/>
              </a:rPr>
              <a:t>Click Add.</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0646208"/>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6027667"/>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a:p>
            <a:r>
              <a:rPr lang="en-US" sz="1200" b="0" i="0" u="none" strike="noStrike" kern="1200" baseline="0" dirty="0">
                <a:solidFill>
                  <a:schemeClr val="tx1"/>
                </a:solidFill>
                <a:latin typeface="+mn-lt"/>
                <a:ea typeface="+mn-ea"/>
                <a:cs typeface="+mn-cs"/>
              </a:rPr>
              <a:t>Note, </a:t>
            </a:r>
            <a:r>
              <a:rPr lang="en-US" sz="1200" b="1" i="0" u="none" strike="noStrike" kern="1200" baseline="0" dirty="0">
                <a:solidFill>
                  <a:schemeClr val="tx1"/>
                </a:solidFill>
                <a:latin typeface="+mn-lt"/>
                <a:ea typeface="+mn-ea"/>
                <a:cs typeface="+mn-cs"/>
              </a:rPr>
              <a:t>Folder</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269678"/>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look at how refresh is going to work. </a:t>
            </a:r>
          </a:p>
          <a:p>
            <a:r>
              <a:rPr lang="en-US" sz="1200" b="0" i="0" u="none" strike="noStrike" kern="1200" baseline="0" dirty="0">
                <a:solidFill>
                  <a:schemeClr val="tx1"/>
                </a:solidFill>
                <a:latin typeface="+mn-lt"/>
                <a:ea typeface="+mn-ea"/>
                <a:cs typeface="+mn-cs"/>
              </a:rPr>
              <a:t>22. If the left panel is collapsed, expand it by clicking on the three bars below </a:t>
            </a:r>
            <a:r>
              <a:rPr lang="en-US" sz="1200" b="0" i="0" u="none" strike="noStrike" kern="1200" baseline="0" dirty="0" err="1">
                <a:solidFill>
                  <a:schemeClr val="tx1"/>
                </a:solidFill>
                <a:latin typeface="+mn-lt"/>
                <a:ea typeface="+mn-ea"/>
                <a:cs typeface="+mn-cs"/>
              </a:rPr>
              <a:t>PowerBI</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23. Navigate to Datasets section on the left panel and locate the dataset called DIAD Final Report. Click on the ellipses and click on Schedule Refresh as shown in the screensho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871798"/>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 the Settings page, you will see the Datasets section is selected. </a:t>
            </a:r>
          </a:p>
          <a:p>
            <a:r>
              <a:rPr lang="en-US" sz="1200" b="0" i="0" u="none" strike="noStrike" kern="1200" baseline="0" dirty="0">
                <a:solidFill>
                  <a:schemeClr val="tx1"/>
                </a:solidFill>
                <a:latin typeface="+mn-lt"/>
                <a:ea typeface="+mn-ea"/>
                <a:cs typeface="+mn-cs"/>
              </a:rPr>
              <a:t>24. The Power BI service has detected that you have setup a Gateway. Expand Gateway connection. </a:t>
            </a:r>
          </a:p>
          <a:p>
            <a:r>
              <a:rPr lang="en-US" sz="1200" b="0" i="0" u="none" strike="noStrike" kern="1200" baseline="0" dirty="0">
                <a:solidFill>
                  <a:schemeClr val="tx1"/>
                </a:solidFill>
                <a:latin typeface="+mn-lt"/>
                <a:ea typeface="+mn-ea"/>
                <a:cs typeface="+mn-cs"/>
              </a:rPr>
              <a:t>25. Select Use a data gateway and click Appl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A dialog appears confirming the gateway for DIAD- Report Final has been updated.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61186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schedule data refresh. Notice that you do not have to re-enter the credentials for each data source again. Since it is set up at the gateway level. </a:t>
            </a:r>
          </a:p>
          <a:p>
            <a:r>
              <a:rPr lang="en-US" sz="1200" b="0" i="0" u="none" strike="noStrike" kern="1200" baseline="0" dirty="0">
                <a:solidFill>
                  <a:schemeClr val="tx1"/>
                </a:solidFill>
                <a:latin typeface="+mn-lt"/>
                <a:ea typeface="+mn-ea"/>
                <a:cs typeface="+mn-cs"/>
              </a:rPr>
              <a:t>26. Expand Schedule Refresh section. </a:t>
            </a:r>
          </a:p>
          <a:p>
            <a:r>
              <a:rPr lang="en-US" sz="1200" b="0" i="0" u="none" strike="noStrike" kern="1200" baseline="0" dirty="0">
                <a:solidFill>
                  <a:schemeClr val="tx1"/>
                </a:solidFill>
                <a:latin typeface="+mn-lt"/>
                <a:ea typeface="+mn-ea"/>
                <a:cs typeface="+mn-cs"/>
              </a:rPr>
              <a:t>27. Enable data refresh by moving the slider below “Keep your data up to date”. </a:t>
            </a:r>
          </a:p>
          <a:p>
            <a:r>
              <a:rPr lang="en-US" sz="1200" b="0" i="0" u="none" strike="noStrike" kern="1200" baseline="0" dirty="0">
                <a:solidFill>
                  <a:schemeClr val="tx1"/>
                </a:solidFill>
                <a:latin typeface="+mn-lt"/>
                <a:ea typeface="+mn-ea"/>
                <a:cs typeface="+mn-cs"/>
              </a:rPr>
              <a:t>28. There are two options for Refresh Frequency, daily and weekly. Pick Daily. </a:t>
            </a:r>
          </a:p>
          <a:p>
            <a:r>
              <a:rPr lang="en-US" sz="1200" b="0" i="0" u="none" strike="noStrike" kern="1200" baseline="0" dirty="0">
                <a:solidFill>
                  <a:schemeClr val="tx1"/>
                </a:solidFill>
                <a:latin typeface="+mn-lt"/>
                <a:ea typeface="+mn-ea"/>
                <a:cs typeface="+mn-cs"/>
              </a:rPr>
              <a:t>29. Using “Time Zone” drop down update the time zone to the appropriate selection. </a:t>
            </a:r>
          </a:p>
          <a:p>
            <a:r>
              <a:rPr lang="en-US" sz="1200" b="0" i="0" u="none" strike="noStrike" kern="1200" baseline="0" dirty="0">
                <a:solidFill>
                  <a:schemeClr val="tx1"/>
                </a:solidFill>
                <a:latin typeface="+mn-lt"/>
                <a:ea typeface="+mn-ea"/>
                <a:cs typeface="+mn-cs"/>
              </a:rPr>
              <a:t>30. Click on “Add another time” to select refresh time. </a:t>
            </a:r>
          </a:p>
          <a:p>
            <a:r>
              <a:rPr lang="en-US" sz="1200" b="0" i="0" u="none" strike="noStrike" kern="1200" baseline="0" dirty="0">
                <a:solidFill>
                  <a:schemeClr val="tx1"/>
                </a:solidFill>
                <a:latin typeface="+mn-lt"/>
                <a:ea typeface="+mn-ea"/>
                <a:cs typeface="+mn-cs"/>
              </a:rPr>
              <a:t>31. Data refresh can be scheduled on the hour or 30min.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090091"/>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ompany sold Germany, so lets remove it from the folder.</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845639"/>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fter the Refresh completes, the report will not longer show the Germany bubble on the map under EUROPE.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2927483"/>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set the service to Log On As my account so it could access the directory.</a:t>
            </a:r>
          </a:p>
          <a:p>
            <a:r>
              <a:rPr lang="en-US" sz="1200" b="0" i="0" u="none" strike="noStrike" kern="1200" baseline="0" dirty="0">
                <a:solidFill>
                  <a:schemeClr val="tx1"/>
                </a:solidFill>
                <a:latin typeface="+mn-lt"/>
                <a:ea typeface="+mn-ea"/>
                <a:cs typeface="+mn-cs"/>
              </a:rPr>
              <a:t>This will require to open the On-Premises data gateway, login again and recover the gateway using the ke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6946703"/>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Germany no longer appears in the map visua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4703468"/>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we have the model and report ready, we want to add security around it, so that individuals from a USA view only USA data and individuals from Mexico view only Mexico data and so forth. </a:t>
            </a:r>
          </a:p>
          <a:p>
            <a:r>
              <a:rPr lang="en-US" sz="1200" b="0" i="0" u="none" strike="noStrike" kern="1200" baseline="0" dirty="0">
                <a:solidFill>
                  <a:schemeClr val="tx1"/>
                </a:solidFill>
                <a:latin typeface="+mn-lt"/>
                <a:ea typeface="+mn-ea"/>
                <a:cs typeface="+mn-cs"/>
              </a:rPr>
              <a:t>1. From the ribbon select Modeling -&gt; Manage Roles. </a:t>
            </a:r>
          </a:p>
          <a:p>
            <a:r>
              <a:rPr lang="en-US" sz="1200" b="0" i="0" u="none" strike="noStrike" kern="1200" baseline="0" dirty="0">
                <a:solidFill>
                  <a:schemeClr val="tx1"/>
                </a:solidFill>
                <a:latin typeface="+mn-lt"/>
                <a:ea typeface="+mn-ea"/>
                <a:cs typeface="+mn-cs"/>
              </a:rPr>
              <a:t>2. Manage roles dialog opens. Click on Create button. </a:t>
            </a:r>
          </a:p>
          <a:p>
            <a:r>
              <a:rPr lang="en-US" sz="1200" b="0" i="0" u="none" strike="noStrike" kern="1200" baseline="0" dirty="0">
                <a:solidFill>
                  <a:schemeClr val="tx1"/>
                </a:solidFill>
                <a:latin typeface="+mn-lt"/>
                <a:ea typeface="+mn-ea"/>
                <a:cs typeface="+mn-cs"/>
              </a:rPr>
              <a:t>3. Name the role as US Role</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4. Click on the ellipsis next to Geograph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5. Select Add Filter -&gt; [Country].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a DAX Expression appears in the text area. </a:t>
            </a:r>
          </a:p>
          <a:p>
            <a:r>
              <a:rPr lang="en-US" sz="1200" b="0" i="0" u="none" strike="noStrike" kern="1200" baseline="0" dirty="0">
                <a:solidFill>
                  <a:schemeClr val="tx1"/>
                </a:solidFill>
                <a:latin typeface="+mn-lt"/>
                <a:ea typeface="+mn-ea"/>
                <a:cs typeface="+mn-cs"/>
              </a:rPr>
              <a:t>6. Edit the DAX Expression to [Country] = "USA".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lick on the check mark on the top right corner. This will validate the DAX expression. 	</a:t>
            </a:r>
          </a:p>
          <a:p>
            <a:r>
              <a:rPr lang="en-US" sz="1200" b="0" i="0" u="none" strike="noStrike" kern="1200" baseline="0" dirty="0">
                <a:solidFill>
                  <a:schemeClr val="tx1"/>
                </a:solidFill>
                <a:latin typeface="+mn-lt"/>
                <a:ea typeface="+mn-ea"/>
                <a:cs typeface="+mn-cs"/>
              </a:rPr>
              <a:t>Similarly add roles for Australia, Canada, France, Japan and Mexico using the following DAX Expressions. Australia Role </a:t>
            </a:r>
            <a:r>
              <a:rPr lang="en-US" sz="1200" b="1" i="0" u="none" strike="noStrike" kern="1200" baseline="0" dirty="0">
                <a:solidFill>
                  <a:schemeClr val="tx1"/>
                </a:solidFill>
                <a:latin typeface="+mn-lt"/>
                <a:ea typeface="+mn-ea"/>
                <a:cs typeface="+mn-cs"/>
              </a:rPr>
              <a:t>[Country] = "Australi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anada Role </a:t>
            </a:r>
            <a:r>
              <a:rPr lang="en-US" sz="1200" b="1" i="0" u="none" strike="noStrike" kern="1200" baseline="0" dirty="0">
                <a:solidFill>
                  <a:schemeClr val="tx1"/>
                </a:solidFill>
                <a:latin typeface="+mn-lt"/>
                <a:ea typeface="+mn-ea"/>
                <a:cs typeface="+mn-cs"/>
              </a:rPr>
              <a:t>[Country] = "Canad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Germany Role </a:t>
            </a:r>
            <a:r>
              <a:rPr lang="en-US" sz="1200" b="1" i="0" u="none" strike="noStrike" kern="1200" baseline="0" dirty="0">
                <a:solidFill>
                  <a:schemeClr val="tx1"/>
                </a:solidFill>
                <a:latin typeface="+mn-lt"/>
                <a:ea typeface="+mn-ea"/>
                <a:cs typeface="+mn-cs"/>
              </a:rPr>
              <a:t>[Country] = "Germany"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Japan Role </a:t>
            </a:r>
            <a:r>
              <a:rPr lang="en-US" sz="1200" b="1" i="0" u="none" strike="noStrike" kern="1200" baseline="0" dirty="0">
                <a:solidFill>
                  <a:schemeClr val="tx1"/>
                </a:solidFill>
                <a:latin typeface="+mn-lt"/>
                <a:ea typeface="+mn-ea"/>
                <a:cs typeface="+mn-cs"/>
              </a:rPr>
              <a:t>[Country] = "Japan"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Mexico Role </a:t>
            </a:r>
            <a:r>
              <a:rPr lang="en-US" sz="1200" b="1" i="0" u="none" strike="noStrike" kern="1200" baseline="0" dirty="0">
                <a:solidFill>
                  <a:schemeClr val="tx1"/>
                </a:solidFill>
                <a:latin typeface="+mn-lt"/>
                <a:ea typeface="+mn-ea"/>
                <a:cs typeface="+mn-cs"/>
              </a:rPr>
              <a:t>[Country] = "Mexico"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igeria Role </a:t>
            </a:r>
            <a:r>
              <a:rPr lang="en-US" sz="1200" b="1" i="0" u="none" strike="noStrike" kern="1200" baseline="0" dirty="0">
                <a:solidFill>
                  <a:schemeClr val="tx1"/>
                </a:solidFill>
                <a:latin typeface="+mn-lt"/>
                <a:ea typeface="+mn-ea"/>
                <a:cs typeface="+mn-cs"/>
              </a:rPr>
              <a:t>[Country] = "Nigeria"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6455108"/>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now you are viewing as a person with Mexico Role would view. </a:t>
            </a:r>
          </a:p>
          <a:p>
            <a:r>
              <a:rPr lang="en-US" sz="1200" b="0" i="0" u="none" strike="noStrike" kern="1200" baseline="0" dirty="0">
                <a:solidFill>
                  <a:schemeClr val="tx1"/>
                </a:solidFill>
                <a:latin typeface="+mn-lt"/>
                <a:ea typeface="+mn-ea"/>
                <a:cs typeface="+mn-cs"/>
              </a:rPr>
              <a:t>11. Click on Stop viewing to exit Mexico Role view. </a:t>
            </a:r>
          </a:p>
          <a:p>
            <a:r>
              <a:rPr lang="en-US" sz="1200" b="0" i="0" u="none" strike="noStrike" kern="1200" baseline="0" dirty="0">
                <a:solidFill>
                  <a:schemeClr val="tx1"/>
                </a:solidFill>
                <a:latin typeface="+mn-lt"/>
                <a:ea typeface="+mn-ea"/>
                <a:cs typeface="+mn-cs"/>
              </a:rPr>
              <a:t>We will add users to these roles in the service. You should have alread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7440607"/>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8201449"/>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ype the email, select the correct one as it appears, click Add, click Sav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669040"/>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o remove, click the X and then click Save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2580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Walkthrough the Power BI Service layout </a:t>
            </a:r>
          </a:p>
          <a:p>
            <a:r>
              <a:rPr lang="en-US" sz="1200" b="0" i="0" u="none" strike="noStrike" kern="1200" baseline="0" dirty="0">
                <a:solidFill>
                  <a:schemeClr val="tx1"/>
                </a:solidFill>
                <a:latin typeface="+mn-lt"/>
                <a:ea typeface="+mn-ea"/>
                <a:cs typeface="+mn-cs"/>
              </a:rPr>
              <a:t>Your workspace is made up of: </a:t>
            </a:r>
          </a:p>
          <a:p>
            <a:r>
              <a:rPr lang="en-US" sz="1200" b="0" i="0" u="none" strike="noStrike" kern="1200" baseline="0" dirty="0">
                <a:solidFill>
                  <a:schemeClr val="tx1"/>
                </a:solidFill>
                <a:latin typeface="+mn-lt"/>
                <a:ea typeface="+mn-ea"/>
                <a:cs typeface="+mn-cs"/>
              </a:rPr>
              <a:t>1. navigation bar </a:t>
            </a:r>
          </a:p>
          <a:p>
            <a:r>
              <a:rPr lang="en-US" sz="1200" b="0" i="0" u="none" strike="noStrike" kern="1200" baseline="0" dirty="0">
                <a:solidFill>
                  <a:schemeClr val="tx1"/>
                </a:solidFill>
                <a:latin typeface="+mn-lt"/>
                <a:ea typeface="+mn-ea"/>
                <a:cs typeface="+mn-cs"/>
              </a:rPr>
              <a:t>2. dashboard with tiles </a:t>
            </a:r>
          </a:p>
          <a:p>
            <a:r>
              <a:rPr lang="en-US" sz="1200" b="0" i="0" u="none" strike="noStrike" kern="1200" baseline="0" dirty="0">
                <a:solidFill>
                  <a:schemeClr val="tx1"/>
                </a:solidFill>
                <a:latin typeface="+mn-lt"/>
                <a:ea typeface="+mn-ea"/>
                <a:cs typeface="+mn-cs"/>
              </a:rPr>
              <a:t>3. Q&amp;A question box </a:t>
            </a:r>
          </a:p>
          <a:p>
            <a:r>
              <a:rPr lang="en-US" sz="1200" b="0" i="0" u="none" strike="noStrike" kern="1200" baseline="0" dirty="0">
                <a:solidFill>
                  <a:schemeClr val="tx1"/>
                </a:solidFill>
                <a:latin typeface="+mn-lt"/>
                <a:ea typeface="+mn-ea"/>
                <a:cs typeface="+mn-cs"/>
              </a:rPr>
              <a:t>4. help and feedback buttons </a:t>
            </a:r>
          </a:p>
          <a:p>
            <a:r>
              <a:rPr lang="en-US" sz="1200" b="0" i="0" u="none" strike="noStrike" kern="1200" baseline="0" dirty="0">
                <a:solidFill>
                  <a:schemeClr val="tx1"/>
                </a:solidFill>
                <a:latin typeface="+mn-lt"/>
                <a:ea typeface="+mn-ea"/>
                <a:cs typeface="+mn-cs"/>
              </a:rPr>
              <a:t>5. dashboard title </a:t>
            </a:r>
          </a:p>
          <a:p>
            <a:r>
              <a:rPr lang="en-US" sz="1200" b="0" i="0" u="none" strike="noStrike" kern="1200" baseline="0" dirty="0">
                <a:solidFill>
                  <a:schemeClr val="tx1"/>
                </a:solidFill>
                <a:latin typeface="+mn-lt"/>
                <a:ea typeface="+mn-ea"/>
                <a:cs typeface="+mn-cs"/>
              </a:rPr>
              <a:t>6. Office 365 app launcher </a:t>
            </a:r>
          </a:p>
          <a:p>
            <a:r>
              <a:rPr lang="en-US" sz="1200" b="0" i="0" u="none" strike="noStrike" kern="1200" baseline="0" dirty="0">
                <a:solidFill>
                  <a:schemeClr val="tx1"/>
                </a:solidFill>
                <a:latin typeface="+mn-lt"/>
                <a:ea typeface="+mn-ea"/>
                <a:cs typeface="+mn-cs"/>
              </a:rPr>
              <a:t>7. Power BI home buttons </a:t>
            </a:r>
          </a:p>
          <a:p>
            <a:r>
              <a:rPr lang="en-US" sz="1200" b="0" i="0" u="none" strike="noStrike" kern="1200" baseline="0" dirty="0">
                <a:solidFill>
                  <a:schemeClr val="tx1"/>
                </a:solidFill>
                <a:latin typeface="+mn-lt"/>
                <a:ea typeface="+mn-ea"/>
                <a:cs typeface="+mn-cs"/>
              </a:rPr>
              <a:t>8. Additional dashboard action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ability to publish a report to the Power BI Service.</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3 main sections in Power BI Service </a:t>
            </a:r>
          </a:p>
          <a:p>
            <a:r>
              <a:rPr lang="en-US" sz="1200" b="0" i="0" u="none" strike="noStrike" kern="1200" baseline="0" dirty="0">
                <a:solidFill>
                  <a:schemeClr val="tx1"/>
                </a:solidFill>
                <a:latin typeface="+mn-lt"/>
                <a:ea typeface="+mn-ea"/>
                <a:cs typeface="+mn-cs"/>
              </a:rPr>
              <a:t>• Dashboards </a:t>
            </a:r>
          </a:p>
          <a:p>
            <a:r>
              <a:rPr lang="en-US" sz="1200" b="0" i="0" u="none" strike="noStrike" kern="1200" baseline="0" dirty="0">
                <a:solidFill>
                  <a:schemeClr val="tx1"/>
                </a:solidFill>
                <a:latin typeface="+mn-lt"/>
                <a:ea typeface="+mn-ea"/>
                <a:cs typeface="+mn-cs"/>
              </a:rPr>
              <a:t>• Reports </a:t>
            </a:r>
          </a:p>
          <a:p>
            <a:r>
              <a:rPr lang="en-US" sz="1200" b="0" i="0" u="none" strike="noStrike" kern="1200" baseline="0" dirty="0">
                <a:solidFill>
                  <a:schemeClr val="tx1"/>
                </a:solidFill>
                <a:latin typeface="+mn-lt"/>
                <a:ea typeface="+mn-ea"/>
                <a:cs typeface="+mn-cs"/>
              </a:rPr>
              <a:t>• Dataset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58424"/>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968877"/>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5406326"/>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6400994"/>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7242088"/>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alk about the ability to distribute and install app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3333621"/>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5808186"/>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6700946"/>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25198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power-platform/admin/pricing-billing-skus</a:t>
            </a:r>
            <a:endParaRPr lang="en-US" dirty="0"/>
          </a:p>
          <a:p>
            <a:r>
              <a:rPr lang="en-US" dirty="0">
                <a:hlinkClick r:id="rId4"/>
              </a:rPr>
              <a:t>https://docs.microsoft.com/en-us/powerapps/maker/signup-for-powerapps</a:t>
            </a:r>
            <a:endParaRPr lang="en-US" dirty="0"/>
          </a:p>
          <a:p>
            <a:r>
              <a:rPr lang="en-US" dirty="0">
                <a:hlinkClick r:id="rId5"/>
              </a:rPr>
              <a:t>https://www.youtube.com/watch?v=swpjfIyXCNA</a:t>
            </a:r>
            <a:endParaRPr lang="en-US" dirty="0"/>
          </a:p>
          <a:p>
            <a:r>
              <a:rPr lang="en-US" dirty="0">
                <a:hlinkClick r:id="rId6"/>
              </a:rPr>
              <a:t>https://docs.microsoft.com/en-us/powerapps/maker/canvas-apps/add-scrolling-screen</a:t>
            </a:r>
            <a:endParaRPr lang="en-US" dirty="0"/>
          </a:p>
          <a:p>
            <a:r>
              <a:rPr lang="en-US" dirty="0"/>
              <a:t>Profile user photo </a:t>
            </a:r>
            <a:r>
              <a:rPr lang="en-US" dirty="0">
                <a:hlinkClick r:id="rId7"/>
              </a:rPr>
              <a:t>https://www.youtube.com/watch?v=rcrubFa8758</a:t>
            </a:r>
            <a:endParaRPr lang="en-US" dirty="0"/>
          </a:p>
          <a:p>
            <a:r>
              <a:rPr lang="en-US" dirty="0"/>
              <a:t>Circle Image crop: </a:t>
            </a:r>
            <a:r>
              <a:rPr lang="en-US" dirty="0">
                <a:hlinkClick r:id="rId8"/>
              </a:rPr>
              <a:t>https://powerusers.microsoft.com/t5/General-Discussion/image-in-a-circle/m-p/9124#M4007</a:t>
            </a:r>
            <a:endParaRPr lang="en-US" dirty="0"/>
          </a:p>
          <a:p>
            <a:r>
              <a:rPr lang="en-US" dirty="0"/>
              <a:t>Cortana: </a:t>
            </a:r>
            <a:r>
              <a:rPr lang="en-US" dirty="0">
                <a:hlinkClick r:id="rId9"/>
              </a:rPr>
              <a:t>https://docs.microsoft.com/en-us/power-bi/service-cortana-intro</a:t>
            </a:r>
            <a:endParaRPr lang="en-US" dirty="0"/>
          </a:p>
          <a:p>
            <a:r>
              <a:rPr lang="en-US" dirty="0"/>
              <a:t>Cortana: </a:t>
            </a:r>
            <a:r>
              <a:rPr lang="en-US" dirty="0">
                <a:hlinkClick r:id="rId10"/>
              </a:rPr>
              <a:t>https://docs.microsoft.com/en-us/power-bi/service-cortana-enable</a:t>
            </a:r>
            <a:endParaRPr lang="en-US" dirty="0"/>
          </a:p>
          <a:p>
            <a:r>
              <a:rPr lang="en-US" dirty="0"/>
              <a:t>Popup/Modal Screen: https://youtu.be/SaDEVOgOlYY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330493"/>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291</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55646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27133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4: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5/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5/5/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5/5/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5/5/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5/5/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5/5/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5/5/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5/5/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5/5/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5/5/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5/5/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5/5/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0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3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27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30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5/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5/5/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6172032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890307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5/5/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9000473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828873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61664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5606815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1267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2645896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235329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1680587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6585711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5/5/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5/5/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5/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5/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5/5/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5/5/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5/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5/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81296802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0.png"/></Relationships>
</file>

<file path=ppt/slides/_rels/slide10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9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9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9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9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105.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9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0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10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8.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10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03.xml"/><Relationship Id="rId1" Type="http://schemas.openxmlformats.org/officeDocument/2006/relationships/slideLayout" Target="../slideLayouts/slideLayout7.xml"/><Relationship Id="rId5" Type="http://schemas.openxmlformats.org/officeDocument/2006/relationships/image" Target="../media/image147.png"/><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1.png"/></Relationships>
</file>

<file path=ppt/slides/_rels/slide110.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0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0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0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5.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10.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17.xml.rels><?xml version="1.0" encoding="UTF-8" standalone="yes"?>
<Relationships xmlns="http://schemas.openxmlformats.org/package/2006/relationships"><Relationship Id="rId3" Type="http://schemas.openxmlformats.org/officeDocument/2006/relationships/image" Target="../media/image154.png"/><Relationship Id="rId7" Type="http://schemas.openxmlformats.org/officeDocument/2006/relationships/image" Target="../media/image89.svg"/><Relationship Id="rId2" Type="http://schemas.openxmlformats.org/officeDocument/2006/relationships/notesSlide" Target="../notesSlides/notesSlide111.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8.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157.svg"/><Relationship Id="rId2" Type="http://schemas.openxmlformats.org/officeDocument/2006/relationships/notesSlide" Target="../notesSlides/notesSlide112.xml"/><Relationship Id="rId1" Type="http://schemas.openxmlformats.org/officeDocument/2006/relationships/slideLayout" Target="../slideLayouts/slideLayout7.xml"/><Relationship Id="rId6" Type="http://schemas.openxmlformats.org/officeDocument/2006/relationships/image" Target="../media/image156.png"/><Relationship Id="rId5" Type="http://schemas.openxmlformats.org/officeDocument/2006/relationships/image" Target="../media/image155.png"/><Relationship Id="rId4" Type="http://schemas.openxmlformats.org/officeDocument/2006/relationships/image" Target="../media/image5.png"/></Relationships>
</file>

<file path=ppt/slides/_rels/slide119.xml.rels><?xml version="1.0" encoding="UTF-8" standalone="yes"?>
<Relationships xmlns="http://schemas.openxmlformats.org/package/2006/relationships"><Relationship Id="rId3" Type="http://schemas.openxmlformats.org/officeDocument/2006/relationships/image" Target="../media/image158.png"/><Relationship Id="rId7" Type="http://schemas.openxmlformats.org/officeDocument/2006/relationships/image" Target="../media/image89.svg"/><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33.gif"/><Relationship Id="rId5" Type="http://schemas.openxmlformats.org/officeDocument/2006/relationships/hyperlink" Target="https://go.microsoft.com/fwlink/?LinkId=2083007&amp;clcid=0x409" TargetMode="External"/><Relationship Id="rId4" Type="http://schemas.openxmlformats.org/officeDocument/2006/relationships/image" Target="../media/image32.png"/></Relationships>
</file>

<file path=ppt/slides/_rels/slide120.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1.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4.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7.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2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8.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2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9.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image" Target="../media/image16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hyperlink" Target="https://www.gartner.com/doc/reprints?id=1-57IQ201&amp;ct=180717&amp;st=sb" TargetMode="External"/></Relationships>
</file>

<file path=ppt/slides/_rels/slide130.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132.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5.xml.rels><?xml version="1.0" encoding="UTF-8" standalone="yes"?>
<Relationships xmlns="http://schemas.openxmlformats.org/package/2006/relationships"><Relationship Id="rId3" Type="http://schemas.openxmlformats.org/officeDocument/2006/relationships/image" Target="../media/image174.png"/><Relationship Id="rId7" Type="http://schemas.openxmlformats.org/officeDocument/2006/relationships/image" Target="../media/image89.svg"/><Relationship Id="rId2" Type="http://schemas.openxmlformats.org/officeDocument/2006/relationships/notesSlide" Target="../notesSlides/notesSlide128.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6.xml.rels><?xml version="1.0" encoding="UTF-8" standalone="yes"?>
<Relationships xmlns="http://schemas.openxmlformats.org/package/2006/relationships"><Relationship Id="rId3" Type="http://schemas.openxmlformats.org/officeDocument/2006/relationships/image" Target="../media/image175.png"/><Relationship Id="rId7" Type="http://schemas.openxmlformats.org/officeDocument/2006/relationships/image" Target="../media/image89.svg"/><Relationship Id="rId2" Type="http://schemas.openxmlformats.org/officeDocument/2006/relationships/notesSlide" Target="../notesSlides/notesSlide129.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7.xml.rels><?xml version="1.0" encoding="UTF-8" standalone="yes"?>
<Relationships xmlns="http://schemas.openxmlformats.org/package/2006/relationships"><Relationship Id="rId3" Type="http://schemas.openxmlformats.org/officeDocument/2006/relationships/image" Target="../media/image176.png"/><Relationship Id="rId7" Type="http://schemas.openxmlformats.org/officeDocument/2006/relationships/image" Target="../media/image89.svg"/><Relationship Id="rId2" Type="http://schemas.openxmlformats.org/officeDocument/2006/relationships/notesSlide" Target="../notesSlides/notesSlide130.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9.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6.jpeg"/><Relationship Id="rId4" Type="http://schemas.openxmlformats.org/officeDocument/2006/relationships/image" Target="../media/image35.png"/></Relationships>
</file>

<file path=ppt/slides/_rels/slide140.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1.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2.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1.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49.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7.png"/></Relationships>
</file>

<file path=ppt/slides/_rels/slide150.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89.png"/></Relationships>
</file>

<file path=ppt/slides/_rels/slide1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152.xml.rels><?xml version="1.0" encoding="UTF-8" standalone="yes"?>
<Relationships xmlns="http://schemas.openxmlformats.org/package/2006/relationships"><Relationship Id="rId8" Type="http://schemas.openxmlformats.org/officeDocument/2006/relationships/image" Target="../media/image192.png"/><Relationship Id="rId3" Type="http://schemas.openxmlformats.org/officeDocument/2006/relationships/image" Target="../media/image28.png"/><Relationship Id="rId7" Type="http://schemas.openxmlformats.org/officeDocument/2006/relationships/image" Target="../media/image191.png"/><Relationship Id="rId2" Type="http://schemas.openxmlformats.org/officeDocument/2006/relationships/notesSlide" Target="../notesSlides/notesSlide14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90.png"/></Relationships>
</file>

<file path=ppt/slides/_rels/slide153.xml.rels><?xml version="1.0" encoding="UTF-8" standalone="yes"?>
<Relationships xmlns="http://schemas.openxmlformats.org/package/2006/relationships"><Relationship Id="rId8" Type="http://schemas.openxmlformats.org/officeDocument/2006/relationships/image" Target="../media/image193.png"/><Relationship Id="rId3" Type="http://schemas.openxmlformats.org/officeDocument/2006/relationships/image" Target="../media/image28.png"/><Relationship Id="rId7" Type="http://schemas.openxmlformats.org/officeDocument/2006/relationships/image" Target="../media/image192.png"/><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image" Target="../media/image191.png"/><Relationship Id="rId5" Type="http://schemas.openxmlformats.org/officeDocument/2006/relationships/image" Target="../media/image5.png"/><Relationship Id="rId10" Type="http://schemas.openxmlformats.org/officeDocument/2006/relationships/image" Target="../media/image195.png"/><Relationship Id="rId4" Type="http://schemas.openxmlformats.org/officeDocument/2006/relationships/hyperlink" Target="http://fleitasarts.com/" TargetMode="External"/><Relationship Id="rId9" Type="http://schemas.openxmlformats.org/officeDocument/2006/relationships/image" Target="../media/image194.png"/></Relationships>
</file>

<file path=ppt/slides/_rels/slide154.xml.rels><?xml version="1.0" encoding="UTF-8" standalone="yes"?>
<Relationships xmlns="http://schemas.openxmlformats.org/package/2006/relationships"><Relationship Id="rId8" Type="http://schemas.openxmlformats.org/officeDocument/2006/relationships/image" Target="../media/image196.png"/><Relationship Id="rId3" Type="http://schemas.openxmlformats.org/officeDocument/2006/relationships/image" Target="../media/image28.png"/><Relationship Id="rId7" Type="http://schemas.openxmlformats.org/officeDocument/2006/relationships/image" Target="../media/image192.png"/><Relationship Id="rId2" Type="http://schemas.openxmlformats.org/officeDocument/2006/relationships/notesSlide" Target="../notesSlides/notesSlide146.xml"/><Relationship Id="rId1" Type="http://schemas.openxmlformats.org/officeDocument/2006/relationships/slideLayout" Target="../slideLayouts/slideLayout7.xml"/><Relationship Id="rId6" Type="http://schemas.openxmlformats.org/officeDocument/2006/relationships/image" Target="../media/image19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156.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8.png"/><Relationship Id="rId7" Type="http://schemas.openxmlformats.org/officeDocument/2006/relationships/image" Target="../media/image192.png"/><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image" Target="../media/image191.png"/><Relationship Id="rId5" Type="http://schemas.openxmlformats.org/officeDocument/2006/relationships/image" Target="../media/image198.png"/><Relationship Id="rId4" Type="http://schemas.openxmlformats.org/officeDocument/2006/relationships/image" Target="../media/image197.png"/><Relationship Id="rId9" Type="http://schemas.openxmlformats.org/officeDocument/2006/relationships/image" Target="../media/image5.png"/></Relationships>
</file>

<file path=ppt/slides/_rels/slide15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48.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198.png"/></Relationships>
</file>

<file path=ppt/slides/_rels/slide15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49.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199.png"/></Relationships>
</file>

<file path=ppt/slides/_rels/slide15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0.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0.png"/></Relationships>
</file>

<file path=ppt/slides/_rels/slide16.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image" Target="../media/image41.png"/><Relationship Id="rId11" Type="http://schemas.openxmlformats.org/officeDocument/2006/relationships/image" Target="../media/image46.jpeg"/><Relationship Id="rId5" Type="http://schemas.openxmlformats.org/officeDocument/2006/relationships/image" Target="../media/image40.gif"/><Relationship Id="rId15" Type="http://schemas.openxmlformats.org/officeDocument/2006/relationships/image" Target="../media/image5.png"/><Relationship Id="rId10" Type="http://schemas.openxmlformats.org/officeDocument/2006/relationships/image" Target="../media/image45.jpe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hyperlink" Target="http://fleitasarts.com/" TargetMode="External"/></Relationships>
</file>

<file path=ppt/slides/_rels/slide16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1.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1.png"/></Relationships>
</file>

<file path=ppt/slides/_rels/slide16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2.png"/></Relationships>
</file>

<file path=ppt/slides/_rels/slide16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3.png"/></Relationships>
</file>

<file path=ppt/slides/_rels/slide16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4.png"/></Relationships>
</file>

<file path=ppt/slides/_rels/slide16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5.png"/></Relationships>
</file>

<file path=ppt/slides/_rels/slide16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6.png"/></Relationships>
</file>

<file path=ppt/slides/_rels/slide16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7.png"/></Relationships>
</file>

<file path=ppt/slides/_rels/slide16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8.png"/></Relationships>
</file>

<file path=ppt/slides/_rels/slide16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9.png"/></Relationships>
</file>

<file path=ppt/slides/_rels/slide16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8.png"/><Relationship Id="rId7" Type="http://schemas.openxmlformats.org/officeDocument/2006/relationships/image" Target="../media/image192.png"/><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191.png"/><Relationship Id="rId5" Type="http://schemas.openxmlformats.org/officeDocument/2006/relationships/image" Target="../media/image211.png"/><Relationship Id="rId4" Type="http://schemas.openxmlformats.org/officeDocument/2006/relationships/image" Target="../media/image210.png"/><Relationship Id="rId9" Type="http://schemas.openxmlformats.org/officeDocument/2006/relationships/image" Target="../media/image5.png"/></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51.png"/><Relationship Id="rId4" Type="http://schemas.openxmlformats.org/officeDocument/2006/relationships/image" Target="../media/image50.png"/></Relationships>
</file>

<file path=ppt/slides/_rels/slide17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12.png"/></Relationships>
</file>

<file path=ppt/slides/_rels/slide17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7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63.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73.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64.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74.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65.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75.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66.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76.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67.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77.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68.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7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69.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7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70.xml"/><Relationship Id="rId1" Type="http://schemas.openxmlformats.org/officeDocument/2006/relationships/slideLayout" Target="../slideLayouts/slideLayout7.xml"/><Relationship Id="rId5" Type="http://schemas.openxmlformats.org/officeDocument/2006/relationships/image" Target="../media/image15.png"/><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0.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image" Target="../media/image213.png"/><Relationship Id="rId7" Type="http://schemas.openxmlformats.org/officeDocument/2006/relationships/image" Target="../media/image28.png"/><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216.png"/><Relationship Id="rId4" Type="http://schemas.openxmlformats.org/officeDocument/2006/relationships/hyperlink" Target="http://fleitasarts.com/" TargetMode="External"/><Relationship Id="rId9" Type="http://schemas.openxmlformats.org/officeDocument/2006/relationships/image" Target="../media/image215.png"/></Relationships>
</file>

<file path=ppt/slides/_rels/slide181.xml.rels><?xml version="1.0" encoding="UTF-8" standalone="yes"?>
<Relationships xmlns="http://schemas.openxmlformats.org/package/2006/relationships"><Relationship Id="rId8" Type="http://schemas.openxmlformats.org/officeDocument/2006/relationships/image" Target="../media/image216.png"/><Relationship Id="rId3" Type="http://schemas.openxmlformats.org/officeDocument/2006/relationships/image" Target="../media/image28.png"/><Relationship Id="rId7" Type="http://schemas.openxmlformats.org/officeDocument/2006/relationships/image" Target="../media/image214.png"/><Relationship Id="rId2" Type="http://schemas.openxmlformats.org/officeDocument/2006/relationships/notesSlide" Target="../notesSlides/notesSlide17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 Id="rId9" Type="http://schemas.openxmlformats.org/officeDocument/2006/relationships/image" Target="../media/image191.png"/></Relationships>
</file>

<file path=ppt/slides/_rels/slide182.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17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83.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image" Target="../media/image28.png"/><Relationship Id="rId7" Type="http://schemas.openxmlformats.org/officeDocument/2006/relationships/image" Target="../media/image15.png"/><Relationship Id="rId2" Type="http://schemas.openxmlformats.org/officeDocument/2006/relationships/notesSlide" Target="../notesSlides/notesSlide17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image" Target="../media/image218.png"/><Relationship Id="rId9" Type="http://schemas.openxmlformats.org/officeDocument/2006/relationships/image" Target="../media/image191.png"/></Relationships>
</file>

<file path=ppt/slides/_rels/slide184.xml.rels><?xml version="1.0" encoding="UTF-8" standalone="yes"?>
<Relationships xmlns="http://schemas.openxmlformats.org/package/2006/relationships"><Relationship Id="rId8" Type="http://schemas.openxmlformats.org/officeDocument/2006/relationships/image" Target="../media/image219.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5.png"/><Relationship Id="rId2" Type="http://schemas.openxmlformats.org/officeDocument/2006/relationships/notesSlide" Target="../notesSlides/notesSlide175.xml"/><Relationship Id="rId1" Type="http://schemas.openxmlformats.org/officeDocument/2006/relationships/slideLayout" Target="../slideLayouts/slideLayout7.xml"/><Relationship Id="rId6" Type="http://schemas.openxmlformats.org/officeDocument/2006/relationships/image" Target="../media/image14.png"/><Relationship Id="rId11" Type="http://schemas.openxmlformats.org/officeDocument/2006/relationships/image" Target="../media/image191.png"/><Relationship Id="rId5" Type="http://schemas.openxmlformats.org/officeDocument/2006/relationships/hyperlink" Target="http://fleitasarts.com/" TargetMode="External"/><Relationship Id="rId10" Type="http://schemas.openxmlformats.org/officeDocument/2006/relationships/image" Target="../media/image214.png"/><Relationship Id="rId4" Type="http://schemas.openxmlformats.org/officeDocument/2006/relationships/image" Target="../media/image28.png"/><Relationship Id="rId9" Type="http://schemas.openxmlformats.org/officeDocument/2006/relationships/image" Target="../media/image220.png"/></Relationships>
</file>

<file path=ppt/slides/_rels/slide18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4.png"/><Relationship Id="rId2" Type="http://schemas.openxmlformats.org/officeDocument/2006/relationships/notesSlide" Target="../notesSlides/notesSlide176.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222.png"/><Relationship Id="rId4" Type="http://schemas.openxmlformats.org/officeDocument/2006/relationships/image" Target="../media/image221.png"/></Relationships>
</file>

<file path=ppt/slides/_rels/slide186.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87.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88.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17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89.xml.rels><?xml version="1.0" encoding="UTF-8" standalone="yes"?>
<Relationships xmlns="http://schemas.openxmlformats.org/package/2006/relationships"><Relationship Id="rId3" Type="http://schemas.openxmlformats.org/officeDocument/2006/relationships/image" Target="../media/image224.png"/><Relationship Id="rId7" Type="http://schemas.openxmlformats.org/officeDocument/2006/relationships/image" Target="../media/image225.png"/><Relationship Id="rId2" Type="http://schemas.openxmlformats.org/officeDocument/2006/relationships/notesSlide" Target="../notesSlides/notesSlide18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3.jpeg"/></Relationships>
</file>

<file path=ppt/slides/_rels/slide190.xml.rels><?xml version="1.0" encoding="UTF-8" standalone="yes"?>
<Relationships xmlns="http://schemas.openxmlformats.org/package/2006/relationships"><Relationship Id="rId3" Type="http://schemas.openxmlformats.org/officeDocument/2006/relationships/image" Target="../media/image224.png"/><Relationship Id="rId7" Type="http://schemas.openxmlformats.org/officeDocument/2006/relationships/image" Target="../media/image226.png"/><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1.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227.png"/><Relationship Id="rId2" Type="http://schemas.openxmlformats.org/officeDocument/2006/relationships/notesSlide" Target="../notesSlides/notesSlide18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2.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228.png"/><Relationship Id="rId2" Type="http://schemas.openxmlformats.org/officeDocument/2006/relationships/notesSlide" Target="../notesSlides/notesSlide18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3.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15.png"/><Relationship Id="rId2" Type="http://schemas.openxmlformats.org/officeDocument/2006/relationships/notesSlide" Target="../notesSlides/notesSlide18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image" Target="../media/image229.png"/></Relationships>
</file>

<file path=ppt/slides/_rels/slide194.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18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5.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18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6.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18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7.xml.rels><?xml version="1.0" encoding="UTF-8" standalone="yes"?>
<Relationships xmlns="http://schemas.openxmlformats.org/package/2006/relationships"><Relationship Id="rId3" Type="http://schemas.openxmlformats.org/officeDocument/2006/relationships/image" Target="../media/image233.png"/><Relationship Id="rId7" Type="http://schemas.openxmlformats.org/officeDocument/2006/relationships/image" Target="../media/image15.png"/><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98.xml.rels><?xml version="1.0" encoding="UTF-8" standalone="yes"?>
<Relationships xmlns="http://schemas.openxmlformats.org/package/2006/relationships"><Relationship Id="rId3" Type="http://schemas.openxmlformats.org/officeDocument/2006/relationships/image" Target="../media/image234.png"/><Relationship Id="rId7" Type="http://schemas.openxmlformats.org/officeDocument/2006/relationships/image" Target="../media/image15.png"/><Relationship Id="rId2" Type="http://schemas.openxmlformats.org/officeDocument/2006/relationships/notesSlide" Target="../notesSlides/notesSlide18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99.xml.rels><?xml version="1.0" encoding="UTF-8" standalone="yes"?>
<Relationships xmlns="http://schemas.openxmlformats.org/package/2006/relationships"><Relationship Id="rId3" Type="http://schemas.openxmlformats.org/officeDocument/2006/relationships/image" Target="../media/image235.png"/><Relationship Id="rId7" Type="http://schemas.openxmlformats.org/officeDocument/2006/relationships/image" Target="../media/image15.png"/><Relationship Id="rId2" Type="http://schemas.openxmlformats.org/officeDocument/2006/relationships/notesSlide" Target="../notesSlides/notesSlide19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8.svg"/></Relationships>
</file>

<file path=ppt/slides/_rels/slide2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4.jpeg"/></Relationships>
</file>

<file path=ppt/slides/_rels/slide200.xml.rels><?xml version="1.0" encoding="UTF-8" standalone="yes"?>
<Relationships xmlns="http://schemas.openxmlformats.org/package/2006/relationships"><Relationship Id="rId3" Type="http://schemas.openxmlformats.org/officeDocument/2006/relationships/image" Target="../media/image236.png"/><Relationship Id="rId7" Type="http://schemas.openxmlformats.org/officeDocument/2006/relationships/image" Target="../media/image15.png"/><Relationship Id="rId2" Type="http://schemas.openxmlformats.org/officeDocument/2006/relationships/notesSlide" Target="../notesSlides/notesSlide19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1.xml.rels><?xml version="1.0" encoding="UTF-8" standalone="yes"?>
<Relationships xmlns="http://schemas.openxmlformats.org/package/2006/relationships"><Relationship Id="rId3" Type="http://schemas.openxmlformats.org/officeDocument/2006/relationships/image" Target="../media/image237.png"/><Relationship Id="rId7" Type="http://schemas.openxmlformats.org/officeDocument/2006/relationships/image" Target="../media/image15.png"/><Relationship Id="rId2" Type="http://schemas.openxmlformats.org/officeDocument/2006/relationships/notesSlide" Target="../notesSlides/notesSlide19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2.xml.rels><?xml version="1.0" encoding="UTF-8" standalone="yes"?>
<Relationships xmlns="http://schemas.openxmlformats.org/package/2006/relationships"><Relationship Id="rId3" Type="http://schemas.openxmlformats.org/officeDocument/2006/relationships/image" Target="../media/image238.png"/><Relationship Id="rId7" Type="http://schemas.openxmlformats.org/officeDocument/2006/relationships/image" Target="../media/image15.png"/><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3.xml.rels><?xml version="1.0" encoding="UTF-8" standalone="yes"?>
<Relationships xmlns="http://schemas.openxmlformats.org/package/2006/relationships"><Relationship Id="rId3" Type="http://schemas.openxmlformats.org/officeDocument/2006/relationships/image" Target="../media/image239.png"/><Relationship Id="rId7" Type="http://schemas.openxmlformats.org/officeDocument/2006/relationships/image" Target="../media/image15.png"/><Relationship Id="rId2" Type="http://schemas.openxmlformats.org/officeDocument/2006/relationships/notesSlide" Target="../notesSlides/notesSlide19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4.xml.rels><?xml version="1.0" encoding="UTF-8" standalone="yes"?>
<Relationships xmlns="http://schemas.openxmlformats.org/package/2006/relationships"><Relationship Id="rId3" Type="http://schemas.openxmlformats.org/officeDocument/2006/relationships/image" Target="../media/image240.png"/><Relationship Id="rId7" Type="http://schemas.openxmlformats.org/officeDocument/2006/relationships/image" Target="../media/image15.png"/><Relationship Id="rId2" Type="http://schemas.openxmlformats.org/officeDocument/2006/relationships/notesSlide" Target="../notesSlides/notesSlide19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5.xml.rels><?xml version="1.0" encoding="UTF-8" standalone="yes"?>
<Relationships xmlns="http://schemas.openxmlformats.org/package/2006/relationships"><Relationship Id="rId3" Type="http://schemas.openxmlformats.org/officeDocument/2006/relationships/image" Target="../media/image241.png"/><Relationship Id="rId7" Type="http://schemas.openxmlformats.org/officeDocument/2006/relationships/image" Target="../media/image15.png"/><Relationship Id="rId2" Type="http://schemas.openxmlformats.org/officeDocument/2006/relationships/notesSlide" Target="../notesSlides/notesSlide19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6.xml.rels><?xml version="1.0" encoding="UTF-8" standalone="yes"?>
<Relationships xmlns="http://schemas.openxmlformats.org/package/2006/relationships"><Relationship Id="rId3" Type="http://schemas.openxmlformats.org/officeDocument/2006/relationships/image" Target="../media/image242.png"/><Relationship Id="rId7" Type="http://schemas.openxmlformats.org/officeDocument/2006/relationships/image" Target="../media/image15.png"/><Relationship Id="rId2" Type="http://schemas.openxmlformats.org/officeDocument/2006/relationships/notesSlide" Target="../notesSlides/notesSlide19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7.xml.rels><?xml version="1.0" encoding="UTF-8" standalone="yes"?>
<Relationships xmlns="http://schemas.openxmlformats.org/package/2006/relationships"><Relationship Id="rId3" Type="http://schemas.openxmlformats.org/officeDocument/2006/relationships/image" Target="../media/image243.png"/><Relationship Id="rId7" Type="http://schemas.openxmlformats.org/officeDocument/2006/relationships/image" Target="../media/image15.png"/><Relationship Id="rId2" Type="http://schemas.openxmlformats.org/officeDocument/2006/relationships/notesSlide" Target="../notesSlides/notesSlide19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8.xml.rels><?xml version="1.0" encoding="UTF-8" standalone="yes"?>
<Relationships xmlns="http://schemas.openxmlformats.org/package/2006/relationships"><Relationship Id="rId3" Type="http://schemas.openxmlformats.org/officeDocument/2006/relationships/image" Target="../media/image244.png"/><Relationship Id="rId7" Type="http://schemas.openxmlformats.org/officeDocument/2006/relationships/image" Target="../media/image15.png"/><Relationship Id="rId2" Type="http://schemas.openxmlformats.org/officeDocument/2006/relationships/notesSlide" Target="../notesSlides/notesSlide19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9.xml.rels><?xml version="1.0" encoding="UTF-8" standalone="yes"?>
<Relationships xmlns="http://schemas.openxmlformats.org/package/2006/relationships"><Relationship Id="rId3" Type="http://schemas.openxmlformats.org/officeDocument/2006/relationships/image" Target="../media/image245.png"/><Relationship Id="rId7" Type="http://schemas.openxmlformats.org/officeDocument/2006/relationships/image" Target="../media/image15.png"/><Relationship Id="rId2" Type="http://schemas.openxmlformats.org/officeDocument/2006/relationships/notesSlide" Target="../notesSlides/notesSlide20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5.jpeg"/></Relationships>
</file>

<file path=ppt/slides/_rels/slide210.xml.rels><?xml version="1.0" encoding="UTF-8" standalone="yes"?>
<Relationships xmlns="http://schemas.openxmlformats.org/package/2006/relationships"><Relationship Id="rId3" Type="http://schemas.openxmlformats.org/officeDocument/2006/relationships/image" Target="../media/image246.png"/><Relationship Id="rId7" Type="http://schemas.openxmlformats.org/officeDocument/2006/relationships/image" Target="../media/image15.png"/><Relationship Id="rId2" Type="http://schemas.openxmlformats.org/officeDocument/2006/relationships/notesSlide" Target="../notesSlides/notesSlide20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1.xml.rels><?xml version="1.0" encoding="UTF-8" standalone="yes"?>
<Relationships xmlns="http://schemas.openxmlformats.org/package/2006/relationships"><Relationship Id="rId3" Type="http://schemas.openxmlformats.org/officeDocument/2006/relationships/image" Target="../media/image247.png"/><Relationship Id="rId7" Type="http://schemas.openxmlformats.org/officeDocument/2006/relationships/image" Target="../media/image15.png"/><Relationship Id="rId2" Type="http://schemas.openxmlformats.org/officeDocument/2006/relationships/notesSlide" Target="../notesSlides/notesSlide20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2.xml.rels><?xml version="1.0" encoding="UTF-8" standalone="yes"?>
<Relationships xmlns="http://schemas.openxmlformats.org/package/2006/relationships"><Relationship Id="rId3" Type="http://schemas.openxmlformats.org/officeDocument/2006/relationships/image" Target="../media/image248.png"/><Relationship Id="rId7" Type="http://schemas.openxmlformats.org/officeDocument/2006/relationships/image" Target="../media/image15.png"/><Relationship Id="rId2" Type="http://schemas.openxmlformats.org/officeDocument/2006/relationships/notesSlide" Target="../notesSlides/notesSlide20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3.xml.rels><?xml version="1.0" encoding="UTF-8" standalone="yes"?>
<Relationships xmlns="http://schemas.openxmlformats.org/package/2006/relationships"><Relationship Id="rId3" Type="http://schemas.openxmlformats.org/officeDocument/2006/relationships/image" Target="../media/image249.png"/><Relationship Id="rId7" Type="http://schemas.openxmlformats.org/officeDocument/2006/relationships/image" Target="../media/image15.png"/><Relationship Id="rId2" Type="http://schemas.openxmlformats.org/officeDocument/2006/relationships/notesSlide" Target="../notesSlides/notesSlide20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4.xml.rels><?xml version="1.0" encoding="UTF-8" standalone="yes"?>
<Relationships xmlns="http://schemas.openxmlformats.org/package/2006/relationships"><Relationship Id="rId3" Type="http://schemas.openxmlformats.org/officeDocument/2006/relationships/image" Target="../media/image250.png"/><Relationship Id="rId7" Type="http://schemas.openxmlformats.org/officeDocument/2006/relationships/image" Target="../media/image15.png"/><Relationship Id="rId2" Type="http://schemas.openxmlformats.org/officeDocument/2006/relationships/notesSlide" Target="../notesSlides/notesSlide20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5.xml.rels><?xml version="1.0" encoding="UTF-8" standalone="yes"?>
<Relationships xmlns="http://schemas.openxmlformats.org/package/2006/relationships"><Relationship Id="rId3" Type="http://schemas.openxmlformats.org/officeDocument/2006/relationships/image" Target="../media/image251.png"/><Relationship Id="rId7" Type="http://schemas.openxmlformats.org/officeDocument/2006/relationships/image" Target="../media/image15.png"/><Relationship Id="rId2" Type="http://schemas.openxmlformats.org/officeDocument/2006/relationships/notesSlide" Target="../notesSlides/notesSlide20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6.xml.rels><?xml version="1.0" encoding="UTF-8" standalone="yes"?>
<Relationships xmlns="http://schemas.openxmlformats.org/package/2006/relationships"><Relationship Id="rId3" Type="http://schemas.openxmlformats.org/officeDocument/2006/relationships/image" Target="../media/image252.png"/><Relationship Id="rId7" Type="http://schemas.openxmlformats.org/officeDocument/2006/relationships/image" Target="../media/image15.png"/><Relationship Id="rId2" Type="http://schemas.openxmlformats.org/officeDocument/2006/relationships/notesSlide" Target="../notesSlides/notesSlide20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7.xml.rels><?xml version="1.0" encoding="UTF-8" standalone="yes"?>
<Relationships xmlns="http://schemas.openxmlformats.org/package/2006/relationships"><Relationship Id="rId3" Type="http://schemas.openxmlformats.org/officeDocument/2006/relationships/image" Target="../media/image253.png"/><Relationship Id="rId7" Type="http://schemas.openxmlformats.org/officeDocument/2006/relationships/image" Target="../media/image15.png"/><Relationship Id="rId2" Type="http://schemas.openxmlformats.org/officeDocument/2006/relationships/notesSlide" Target="../notesSlides/notesSlide20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8.xml.rels><?xml version="1.0" encoding="UTF-8" standalone="yes"?>
<Relationships xmlns="http://schemas.openxmlformats.org/package/2006/relationships"><Relationship Id="rId3" Type="http://schemas.openxmlformats.org/officeDocument/2006/relationships/image" Target="../media/image254.png"/><Relationship Id="rId7" Type="http://schemas.openxmlformats.org/officeDocument/2006/relationships/image" Target="../media/image15.png"/><Relationship Id="rId2" Type="http://schemas.openxmlformats.org/officeDocument/2006/relationships/notesSlide" Target="../notesSlides/notesSlide20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9.xml.rels><?xml version="1.0" encoding="UTF-8" standalone="yes"?>
<Relationships xmlns="http://schemas.openxmlformats.org/package/2006/relationships"><Relationship Id="rId3" Type="http://schemas.openxmlformats.org/officeDocument/2006/relationships/image" Target="../media/image255.png"/><Relationship Id="rId7" Type="http://schemas.openxmlformats.org/officeDocument/2006/relationships/image" Target="../media/image15.png"/><Relationship Id="rId2" Type="http://schemas.openxmlformats.org/officeDocument/2006/relationships/notesSlide" Target="../notesSlides/notesSlide21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6.jpeg"/></Relationships>
</file>

<file path=ppt/slides/_rels/slide220.xml.rels><?xml version="1.0" encoding="UTF-8" standalone="yes"?>
<Relationships xmlns="http://schemas.openxmlformats.org/package/2006/relationships"><Relationship Id="rId3" Type="http://schemas.openxmlformats.org/officeDocument/2006/relationships/image" Target="../media/image256.png"/><Relationship Id="rId7" Type="http://schemas.openxmlformats.org/officeDocument/2006/relationships/image" Target="../media/image15.png"/><Relationship Id="rId2" Type="http://schemas.openxmlformats.org/officeDocument/2006/relationships/notesSlide" Target="../notesSlides/notesSlide21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1.xml.rels><?xml version="1.0" encoding="UTF-8" standalone="yes"?>
<Relationships xmlns="http://schemas.openxmlformats.org/package/2006/relationships"><Relationship Id="rId3" Type="http://schemas.openxmlformats.org/officeDocument/2006/relationships/image" Target="../media/image257.png"/><Relationship Id="rId7" Type="http://schemas.openxmlformats.org/officeDocument/2006/relationships/image" Target="../media/image15.png"/><Relationship Id="rId2" Type="http://schemas.openxmlformats.org/officeDocument/2006/relationships/notesSlide" Target="../notesSlides/notesSlide21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2.xml.rels><?xml version="1.0" encoding="UTF-8" standalone="yes"?>
<Relationships xmlns="http://schemas.openxmlformats.org/package/2006/relationships"><Relationship Id="rId3" Type="http://schemas.openxmlformats.org/officeDocument/2006/relationships/image" Target="../media/image258.png"/><Relationship Id="rId7" Type="http://schemas.openxmlformats.org/officeDocument/2006/relationships/image" Target="../media/image15.png"/><Relationship Id="rId2" Type="http://schemas.openxmlformats.org/officeDocument/2006/relationships/notesSlide" Target="../notesSlides/notesSlide21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3.xml.rels><?xml version="1.0" encoding="UTF-8" standalone="yes"?>
<Relationships xmlns="http://schemas.openxmlformats.org/package/2006/relationships"><Relationship Id="rId3" Type="http://schemas.openxmlformats.org/officeDocument/2006/relationships/image" Target="../media/image259.png"/><Relationship Id="rId7" Type="http://schemas.openxmlformats.org/officeDocument/2006/relationships/image" Target="../media/image15.png"/><Relationship Id="rId2" Type="http://schemas.openxmlformats.org/officeDocument/2006/relationships/notesSlide" Target="../notesSlides/notesSlide21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4.xml.rels><?xml version="1.0" encoding="UTF-8" standalone="yes"?>
<Relationships xmlns="http://schemas.openxmlformats.org/package/2006/relationships"><Relationship Id="rId3" Type="http://schemas.openxmlformats.org/officeDocument/2006/relationships/image" Target="../media/image260.png"/><Relationship Id="rId7" Type="http://schemas.openxmlformats.org/officeDocument/2006/relationships/image" Target="../media/image15.png"/><Relationship Id="rId2" Type="http://schemas.openxmlformats.org/officeDocument/2006/relationships/notesSlide" Target="../notesSlides/notesSlide21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5.xml.rels><?xml version="1.0" encoding="UTF-8" standalone="yes"?>
<Relationships xmlns="http://schemas.openxmlformats.org/package/2006/relationships"><Relationship Id="rId3" Type="http://schemas.openxmlformats.org/officeDocument/2006/relationships/image" Target="../media/image261.png"/><Relationship Id="rId7" Type="http://schemas.openxmlformats.org/officeDocument/2006/relationships/image" Target="../media/image15.png"/><Relationship Id="rId2" Type="http://schemas.openxmlformats.org/officeDocument/2006/relationships/notesSlide" Target="../notesSlides/notesSlide21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6.xml.rels><?xml version="1.0" encoding="UTF-8" standalone="yes"?>
<Relationships xmlns="http://schemas.openxmlformats.org/package/2006/relationships"><Relationship Id="rId3" Type="http://schemas.openxmlformats.org/officeDocument/2006/relationships/image" Target="../media/image262.png"/><Relationship Id="rId7" Type="http://schemas.openxmlformats.org/officeDocument/2006/relationships/image" Target="../media/image15.png"/><Relationship Id="rId2" Type="http://schemas.openxmlformats.org/officeDocument/2006/relationships/notesSlide" Target="../notesSlides/notesSlide21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7.xml.rels><?xml version="1.0" encoding="UTF-8" standalone="yes"?>
<Relationships xmlns="http://schemas.openxmlformats.org/package/2006/relationships"><Relationship Id="rId3" Type="http://schemas.openxmlformats.org/officeDocument/2006/relationships/image" Target="../media/image263.png"/><Relationship Id="rId7" Type="http://schemas.openxmlformats.org/officeDocument/2006/relationships/image" Target="../media/image15.png"/><Relationship Id="rId2" Type="http://schemas.openxmlformats.org/officeDocument/2006/relationships/notesSlide" Target="../notesSlides/notesSlide21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8.xml.rels><?xml version="1.0" encoding="UTF-8" standalone="yes"?>
<Relationships xmlns="http://schemas.openxmlformats.org/package/2006/relationships"><Relationship Id="rId3" Type="http://schemas.openxmlformats.org/officeDocument/2006/relationships/image" Target="../media/image264.png"/><Relationship Id="rId7" Type="http://schemas.openxmlformats.org/officeDocument/2006/relationships/image" Target="../media/image15.png"/><Relationship Id="rId2" Type="http://schemas.openxmlformats.org/officeDocument/2006/relationships/notesSlide" Target="../notesSlides/notesSlide21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9.xml.rels><?xml version="1.0" encoding="UTF-8" standalone="yes"?>
<Relationships xmlns="http://schemas.openxmlformats.org/package/2006/relationships"><Relationship Id="rId3" Type="http://schemas.openxmlformats.org/officeDocument/2006/relationships/image" Target="../media/image265.png"/><Relationship Id="rId7" Type="http://schemas.openxmlformats.org/officeDocument/2006/relationships/image" Target="../media/image15.png"/><Relationship Id="rId2" Type="http://schemas.openxmlformats.org/officeDocument/2006/relationships/notesSlide" Target="../notesSlides/notesSlide22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7.jpeg"/></Relationships>
</file>

<file path=ppt/slides/_rels/slide230.xml.rels><?xml version="1.0" encoding="UTF-8" standalone="yes"?>
<Relationships xmlns="http://schemas.openxmlformats.org/package/2006/relationships"><Relationship Id="rId3" Type="http://schemas.openxmlformats.org/officeDocument/2006/relationships/image" Target="../media/image266.png"/><Relationship Id="rId7" Type="http://schemas.openxmlformats.org/officeDocument/2006/relationships/image" Target="../media/image15.png"/><Relationship Id="rId2" Type="http://schemas.openxmlformats.org/officeDocument/2006/relationships/notesSlide" Target="../notesSlides/notesSlide22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1.xml.rels><?xml version="1.0" encoding="UTF-8" standalone="yes"?>
<Relationships xmlns="http://schemas.openxmlformats.org/package/2006/relationships"><Relationship Id="rId3" Type="http://schemas.openxmlformats.org/officeDocument/2006/relationships/image" Target="../media/image267.png"/><Relationship Id="rId7" Type="http://schemas.openxmlformats.org/officeDocument/2006/relationships/image" Target="../media/image15.png"/><Relationship Id="rId2" Type="http://schemas.openxmlformats.org/officeDocument/2006/relationships/notesSlide" Target="../notesSlides/notesSlide22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2.xml.rels><?xml version="1.0" encoding="UTF-8" standalone="yes"?>
<Relationships xmlns="http://schemas.openxmlformats.org/package/2006/relationships"><Relationship Id="rId3" Type="http://schemas.openxmlformats.org/officeDocument/2006/relationships/image" Target="../media/image268.png"/><Relationship Id="rId7" Type="http://schemas.openxmlformats.org/officeDocument/2006/relationships/image" Target="../media/image15.png"/><Relationship Id="rId2" Type="http://schemas.openxmlformats.org/officeDocument/2006/relationships/notesSlide" Target="../notesSlides/notesSlide22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3.xml.rels><?xml version="1.0" encoding="UTF-8" standalone="yes"?>
<Relationships xmlns="http://schemas.openxmlformats.org/package/2006/relationships"><Relationship Id="rId3" Type="http://schemas.openxmlformats.org/officeDocument/2006/relationships/image" Target="../media/image269.png"/><Relationship Id="rId7" Type="http://schemas.openxmlformats.org/officeDocument/2006/relationships/image" Target="../media/image15.png"/><Relationship Id="rId2" Type="http://schemas.openxmlformats.org/officeDocument/2006/relationships/notesSlide" Target="../notesSlides/notesSlide22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4.xml.rels><?xml version="1.0" encoding="UTF-8" standalone="yes"?>
<Relationships xmlns="http://schemas.openxmlformats.org/package/2006/relationships"><Relationship Id="rId3" Type="http://schemas.openxmlformats.org/officeDocument/2006/relationships/image" Target="../media/image270.png"/><Relationship Id="rId7" Type="http://schemas.openxmlformats.org/officeDocument/2006/relationships/image" Target="../media/image15.png"/><Relationship Id="rId2" Type="http://schemas.openxmlformats.org/officeDocument/2006/relationships/notesSlide" Target="../notesSlides/notesSlide22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5.xml.rels><?xml version="1.0" encoding="UTF-8" standalone="yes"?>
<Relationships xmlns="http://schemas.openxmlformats.org/package/2006/relationships"><Relationship Id="rId3" Type="http://schemas.openxmlformats.org/officeDocument/2006/relationships/image" Target="../media/image271.png"/><Relationship Id="rId7" Type="http://schemas.openxmlformats.org/officeDocument/2006/relationships/image" Target="../media/image15.png"/><Relationship Id="rId2" Type="http://schemas.openxmlformats.org/officeDocument/2006/relationships/notesSlide" Target="../notesSlides/notesSlide22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6.xml.rels><?xml version="1.0" encoding="UTF-8" standalone="yes"?>
<Relationships xmlns="http://schemas.openxmlformats.org/package/2006/relationships"><Relationship Id="rId3" Type="http://schemas.openxmlformats.org/officeDocument/2006/relationships/image" Target="../media/image272.png"/><Relationship Id="rId7" Type="http://schemas.openxmlformats.org/officeDocument/2006/relationships/image" Target="../media/image15.png"/><Relationship Id="rId2" Type="http://schemas.openxmlformats.org/officeDocument/2006/relationships/notesSlide" Target="../notesSlides/notesSlide22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7.xml.rels><?xml version="1.0" encoding="UTF-8" standalone="yes"?>
<Relationships xmlns="http://schemas.openxmlformats.org/package/2006/relationships"><Relationship Id="rId3" Type="http://schemas.openxmlformats.org/officeDocument/2006/relationships/image" Target="../media/image273.png"/><Relationship Id="rId7" Type="http://schemas.openxmlformats.org/officeDocument/2006/relationships/image" Target="../media/image15.png"/><Relationship Id="rId2" Type="http://schemas.openxmlformats.org/officeDocument/2006/relationships/notesSlide" Target="../notesSlides/notesSlide228.xml"/><Relationship Id="rId1" Type="http://schemas.openxmlformats.org/officeDocument/2006/relationships/slideLayout" Target="../slideLayouts/slideLayout39.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238.xml.rels><?xml version="1.0" encoding="UTF-8" standalone="yes"?>
<Relationships xmlns="http://schemas.openxmlformats.org/package/2006/relationships"><Relationship Id="rId3" Type="http://schemas.openxmlformats.org/officeDocument/2006/relationships/image" Target="../media/image274.png"/><Relationship Id="rId7" Type="http://schemas.openxmlformats.org/officeDocument/2006/relationships/image" Target="../media/image15.png"/><Relationship Id="rId2" Type="http://schemas.openxmlformats.org/officeDocument/2006/relationships/notesSlide" Target="../notesSlides/notesSlide22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9.xml.rels><?xml version="1.0" encoding="UTF-8" standalone="yes"?>
<Relationships xmlns="http://schemas.openxmlformats.org/package/2006/relationships"><Relationship Id="rId3" Type="http://schemas.openxmlformats.org/officeDocument/2006/relationships/image" Target="../media/image275.png"/><Relationship Id="rId7" Type="http://schemas.openxmlformats.org/officeDocument/2006/relationships/image" Target="../media/image15.png"/><Relationship Id="rId2" Type="http://schemas.openxmlformats.org/officeDocument/2006/relationships/notesSlide" Target="../notesSlides/notesSlide23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0.xml.rels><?xml version="1.0" encoding="UTF-8" standalone="yes"?>
<Relationships xmlns="http://schemas.openxmlformats.org/package/2006/relationships"><Relationship Id="rId3" Type="http://schemas.openxmlformats.org/officeDocument/2006/relationships/image" Target="../media/image276.png"/><Relationship Id="rId7" Type="http://schemas.openxmlformats.org/officeDocument/2006/relationships/image" Target="../media/image15.png"/><Relationship Id="rId2" Type="http://schemas.openxmlformats.org/officeDocument/2006/relationships/notesSlide" Target="../notesSlides/notesSlide23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1.xml.rels><?xml version="1.0" encoding="UTF-8" standalone="yes"?>
<Relationships xmlns="http://schemas.openxmlformats.org/package/2006/relationships"><Relationship Id="rId3" Type="http://schemas.openxmlformats.org/officeDocument/2006/relationships/image" Target="../media/image277.png"/><Relationship Id="rId7" Type="http://schemas.openxmlformats.org/officeDocument/2006/relationships/image" Target="../media/image15.png"/><Relationship Id="rId2" Type="http://schemas.openxmlformats.org/officeDocument/2006/relationships/notesSlide" Target="../notesSlides/notesSlide23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2.xml.rels><?xml version="1.0" encoding="UTF-8" standalone="yes"?>
<Relationships xmlns="http://schemas.openxmlformats.org/package/2006/relationships"><Relationship Id="rId3" Type="http://schemas.openxmlformats.org/officeDocument/2006/relationships/image" Target="../media/image278.png"/><Relationship Id="rId7" Type="http://schemas.openxmlformats.org/officeDocument/2006/relationships/image" Target="../media/image15.png"/><Relationship Id="rId2" Type="http://schemas.openxmlformats.org/officeDocument/2006/relationships/notesSlide" Target="../notesSlides/notesSlide23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3.xml.rels><?xml version="1.0" encoding="UTF-8" standalone="yes"?>
<Relationships xmlns="http://schemas.openxmlformats.org/package/2006/relationships"><Relationship Id="rId3" Type="http://schemas.openxmlformats.org/officeDocument/2006/relationships/image" Target="../media/image279.png"/><Relationship Id="rId7" Type="http://schemas.openxmlformats.org/officeDocument/2006/relationships/image" Target="../media/image15.png"/><Relationship Id="rId2" Type="http://schemas.openxmlformats.org/officeDocument/2006/relationships/notesSlide" Target="../notesSlides/notesSlide23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4.xml.rels><?xml version="1.0" encoding="UTF-8" standalone="yes"?>
<Relationships xmlns="http://schemas.openxmlformats.org/package/2006/relationships"><Relationship Id="rId3" Type="http://schemas.openxmlformats.org/officeDocument/2006/relationships/image" Target="../media/image280.png"/><Relationship Id="rId7" Type="http://schemas.openxmlformats.org/officeDocument/2006/relationships/image" Target="../media/image15.png"/><Relationship Id="rId2" Type="http://schemas.openxmlformats.org/officeDocument/2006/relationships/notesSlide" Target="../notesSlides/notesSlide23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5.xml.rels><?xml version="1.0" encoding="UTF-8" standalone="yes"?>
<Relationships xmlns="http://schemas.openxmlformats.org/package/2006/relationships"><Relationship Id="rId3" Type="http://schemas.openxmlformats.org/officeDocument/2006/relationships/image" Target="../media/image281.png"/><Relationship Id="rId7" Type="http://schemas.openxmlformats.org/officeDocument/2006/relationships/image" Target="../media/image15.png"/><Relationship Id="rId2" Type="http://schemas.openxmlformats.org/officeDocument/2006/relationships/notesSlide" Target="../notesSlides/notesSlide23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6.xml.rels><?xml version="1.0" encoding="UTF-8" standalone="yes"?>
<Relationships xmlns="http://schemas.openxmlformats.org/package/2006/relationships"><Relationship Id="rId3" Type="http://schemas.openxmlformats.org/officeDocument/2006/relationships/image" Target="../media/image282.png"/><Relationship Id="rId7" Type="http://schemas.openxmlformats.org/officeDocument/2006/relationships/image" Target="../media/image15.png"/><Relationship Id="rId2" Type="http://schemas.openxmlformats.org/officeDocument/2006/relationships/notesSlide" Target="../notesSlides/notesSlide23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7.xml.rels><?xml version="1.0" encoding="UTF-8" standalone="yes"?>
<Relationships xmlns="http://schemas.openxmlformats.org/package/2006/relationships"><Relationship Id="rId3" Type="http://schemas.openxmlformats.org/officeDocument/2006/relationships/image" Target="../media/image283.png"/><Relationship Id="rId7" Type="http://schemas.openxmlformats.org/officeDocument/2006/relationships/image" Target="../media/image15.png"/><Relationship Id="rId2" Type="http://schemas.openxmlformats.org/officeDocument/2006/relationships/notesSlide" Target="../notesSlides/notesSlide23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8.xml.rels><?xml version="1.0" encoding="UTF-8" standalone="yes"?>
<Relationships xmlns="http://schemas.openxmlformats.org/package/2006/relationships"><Relationship Id="rId3" Type="http://schemas.openxmlformats.org/officeDocument/2006/relationships/image" Target="../media/image284.png"/><Relationship Id="rId7" Type="http://schemas.openxmlformats.org/officeDocument/2006/relationships/image" Target="../media/image15.png"/><Relationship Id="rId2" Type="http://schemas.openxmlformats.org/officeDocument/2006/relationships/notesSlide" Target="../notesSlides/notesSlide23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9.xml.rels><?xml version="1.0" encoding="UTF-8" standalone="yes"?>
<Relationships xmlns="http://schemas.openxmlformats.org/package/2006/relationships"><Relationship Id="rId8" Type="http://schemas.openxmlformats.org/officeDocument/2006/relationships/image" Target="../media/image286.png"/><Relationship Id="rId3" Type="http://schemas.openxmlformats.org/officeDocument/2006/relationships/image" Target="../media/image285.png"/><Relationship Id="rId7" Type="http://schemas.openxmlformats.org/officeDocument/2006/relationships/image" Target="../media/image15.png"/><Relationship Id="rId2" Type="http://schemas.openxmlformats.org/officeDocument/2006/relationships/notesSlide" Target="../notesSlides/notesSlide24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287.png"/></Relationships>
</file>

<file path=ppt/slides/_rels/slide2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25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88.png"/><Relationship Id="rId7" Type="http://schemas.openxmlformats.org/officeDocument/2006/relationships/image" Target="../media/image14.png"/><Relationship Id="rId2" Type="http://schemas.openxmlformats.org/officeDocument/2006/relationships/notesSlide" Target="../notesSlides/notesSlide24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hyperlink" Target="https://community.powerbi.com/t5/Dashboard-in-a-Day/Dashboard-in-a-Day-Content/td-p/332900" TargetMode="External"/><Relationship Id="rId4" Type="http://schemas.openxmlformats.org/officeDocument/2006/relationships/image" Target="../media/image289.png"/></Relationships>
</file>

<file path=ppt/slides/_rels/slide251.xml.rels><?xml version="1.0" encoding="UTF-8" standalone="yes"?>
<Relationships xmlns="http://schemas.openxmlformats.org/package/2006/relationships"><Relationship Id="rId3" Type="http://schemas.openxmlformats.org/officeDocument/2006/relationships/image" Target="../media/image290.png"/><Relationship Id="rId7" Type="http://schemas.openxmlformats.org/officeDocument/2006/relationships/image" Target="../media/image15.png"/><Relationship Id="rId2" Type="http://schemas.openxmlformats.org/officeDocument/2006/relationships/notesSlide" Target="../notesSlides/notesSlide24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52.xml.rels><?xml version="1.0" encoding="UTF-8" standalone="yes"?>
<Relationships xmlns="http://schemas.openxmlformats.org/package/2006/relationships"><Relationship Id="rId3" Type="http://schemas.openxmlformats.org/officeDocument/2006/relationships/image" Target="../media/image291.png"/><Relationship Id="rId7" Type="http://schemas.openxmlformats.org/officeDocument/2006/relationships/image" Target="../media/image15.png"/><Relationship Id="rId2" Type="http://schemas.openxmlformats.org/officeDocument/2006/relationships/notesSlide" Target="../notesSlides/notesSlide24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53.xml.rels><?xml version="1.0" encoding="UTF-8" standalone="yes"?>
<Relationships xmlns="http://schemas.openxmlformats.org/package/2006/relationships"><Relationship Id="rId8" Type="http://schemas.openxmlformats.org/officeDocument/2006/relationships/image" Target="../media/image292.png"/><Relationship Id="rId3" Type="http://schemas.openxmlformats.org/officeDocument/2006/relationships/image" Target="../media/image213.png"/><Relationship Id="rId7" Type="http://schemas.openxmlformats.org/officeDocument/2006/relationships/image" Target="../media/image28.png"/><Relationship Id="rId2" Type="http://schemas.openxmlformats.org/officeDocument/2006/relationships/notesSlide" Target="../notesSlides/notesSlide24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54.xml.rels><?xml version="1.0" encoding="UTF-8" standalone="yes"?>
<Relationships xmlns="http://schemas.openxmlformats.org/package/2006/relationships"><Relationship Id="rId8" Type="http://schemas.openxmlformats.org/officeDocument/2006/relationships/image" Target="../media/image213.png"/><Relationship Id="rId3" Type="http://schemas.openxmlformats.org/officeDocument/2006/relationships/image" Target="../media/image28.png"/><Relationship Id="rId7" Type="http://schemas.openxmlformats.org/officeDocument/2006/relationships/image" Target="../media/image293.png"/><Relationship Id="rId2" Type="http://schemas.openxmlformats.org/officeDocument/2006/relationships/notesSlide" Target="../notesSlides/notesSlide24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55.xml.rels><?xml version="1.0" encoding="UTF-8" standalone="yes"?>
<Relationships xmlns="http://schemas.openxmlformats.org/package/2006/relationships"><Relationship Id="rId3" Type="http://schemas.openxmlformats.org/officeDocument/2006/relationships/image" Target="../media/image273.png"/><Relationship Id="rId7" Type="http://schemas.openxmlformats.org/officeDocument/2006/relationships/image" Target="../media/image15.png"/><Relationship Id="rId2" Type="http://schemas.openxmlformats.org/officeDocument/2006/relationships/notesSlide" Target="../notesSlides/notesSlide246.xml"/><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256.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24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57.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24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58.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24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59.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25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60.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5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1.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5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2.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25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3.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notesSlide" Target="../notesSlides/notesSlide25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4.xml.rels><?xml version="1.0" encoding="UTF-8" standalone="yes"?>
<Relationships xmlns="http://schemas.openxmlformats.org/package/2006/relationships"><Relationship Id="rId3" Type="http://schemas.openxmlformats.org/officeDocument/2006/relationships/image" Target="../media/image302.png"/><Relationship Id="rId7" Type="http://schemas.openxmlformats.org/officeDocument/2006/relationships/image" Target="../media/image303.png"/><Relationship Id="rId2" Type="http://schemas.openxmlformats.org/officeDocument/2006/relationships/notesSlide" Target="../notesSlides/notesSlide25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5.xml.rels><?xml version="1.0" encoding="UTF-8" standalone="yes"?>
<Relationships xmlns="http://schemas.openxmlformats.org/package/2006/relationships"><Relationship Id="rId3" Type="http://schemas.openxmlformats.org/officeDocument/2006/relationships/image" Target="../media/image304.png"/><Relationship Id="rId2" Type="http://schemas.openxmlformats.org/officeDocument/2006/relationships/notesSlide" Target="../notesSlides/notesSlide25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6.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notesSlide" Target="../notesSlides/notesSlide25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7.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25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8.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5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9.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notesSlide" Target="../notesSlides/notesSlide26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70.xml.rels><?xml version="1.0" encoding="UTF-8" standalone="yes"?>
<Relationships xmlns="http://schemas.openxmlformats.org/package/2006/relationships"><Relationship Id="rId8" Type="http://schemas.openxmlformats.org/officeDocument/2006/relationships/image" Target="../media/image192.png"/><Relationship Id="rId3" Type="http://schemas.openxmlformats.org/officeDocument/2006/relationships/image" Target="../media/image28.png"/><Relationship Id="rId7" Type="http://schemas.openxmlformats.org/officeDocument/2006/relationships/image" Target="../media/image15.png"/><Relationship Id="rId2" Type="http://schemas.openxmlformats.org/officeDocument/2006/relationships/notesSlide" Target="../notesSlides/notesSlide26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10" Type="http://schemas.openxmlformats.org/officeDocument/2006/relationships/image" Target="../media/image309.png"/><Relationship Id="rId4" Type="http://schemas.openxmlformats.org/officeDocument/2006/relationships/image" Target="../media/image214.png"/><Relationship Id="rId9" Type="http://schemas.openxmlformats.org/officeDocument/2006/relationships/image" Target="../media/image191.png"/></Relationships>
</file>

<file path=ppt/slides/_rels/slide271.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notesSlide" Target="../notesSlides/notesSlide26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8.png"/><Relationship Id="rId7" Type="http://schemas.openxmlformats.org/officeDocument/2006/relationships/image" Target="../media/image14.png"/><Relationship Id="rId2" Type="http://schemas.openxmlformats.org/officeDocument/2006/relationships/notesSlide" Target="../notesSlides/notesSlide263.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11.png"/><Relationship Id="rId10" Type="http://schemas.openxmlformats.org/officeDocument/2006/relationships/image" Target="../media/image191.png"/><Relationship Id="rId4" Type="http://schemas.openxmlformats.org/officeDocument/2006/relationships/image" Target="../media/image214.png"/><Relationship Id="rId9" Type="http://schemas.openxmlformats.org/officeDocument/2006/relationships/image" Target="../media/image192.png"/></Relationships>
</file>

<file path=ppt/slides/_rels/slide273.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notesSlide" Target="../notesSlides/notesSlide26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4.xml.rels><?xml version="1.0" encoding="UTF-8" standalone="yes"?>
<Relationships xmlns="http://schemas.openxmlformats.org/package/2006/relationships"><Relationship Id="rId8" Type="http://schemas.openxmlformats.org/officeDocument/2006/relationships/image" Target="../media/image286.png"/><Relationship Id="rId3" Type="http://schemas.openxmlformats.org/officeDocument/2006/relationships/image" Target="../media/image313.png"/><Relationship Id="rId7" Type="http://schemas.openxmlformats.org/officeDocument/2006/relationships/image" Target="../media/image15.png"/><Relationship Id="rId2" Type="http://schemas.openxmlformats.org/officeDocument/2006/relationships/notesSlide" Target="../notesSlides/notesSlide26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287.png"/></Relationships>
</file>

<file path=ppt/slides/_rels/slide275.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26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6.xml.rels><?xml version="1.0" encoding="UTF-8" standalone="yes"?>
<Relationships xmlns="http://schemas.openxmlformats.org/package/2006/relationships"><Relationship Id="rId3" Type="http://schemas.openxmlformats.org/officeDocument/2006/relationships/image" Target="../media/image315.png"/><Relationship Id="rId2" Type="http://schemas.openxmlformats.org/officeDocument/2006/relationships/notesSlide" Target="../notesSlides/notesSlide26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7.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26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8.xml.rels><?xml version="1.0" encoding="UTF-8" standalone="yes"?>
<Relationships xmlns="http://schemas.openxmlformats.org/package/2006/relationships"><Relationship Id="rId3" Type="http://schemas.openxmlformats.org/officeDocument/2006/relationships/image" Target="../media/image317.png"/><Relationship Id="rId2" Type="http://schemas.openxmlformats.org/officeDocument/2006/relationships/notesSlide" Target="../notesSlides/notesSlide26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9.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27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80.xml.rels><?xml version="1.0" encoding="UTF-8" standalone="yes"?>
<Relationships xmlns="http://schemas.openxmlformats.org/package/2006/relationships"><Relationship Id="rId3" Type="http://schemas.openxmlformats.org/officeDocument/2006/relationships/image" Target="../media/image319.png"/><Relationship Id="rId2" Type="http://schemas.openxmlformats.org/officeDocument/2006/relationships/notesSlide" Target="../notesSlides/notesSlide27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1.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notesSlide" Target="../notesSlides/notesSlide27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2.xml.rels><?xml version="1.0" encoding="UTF-8" standalone="yes"?>
<Relationships xmlns="http://schemas.openxmlformats.org/package/2006/relationships"><Relationship Id="rId3" Type="http://schemas.openxmlformats.org/officeDocument/2006/relationships/image" Target="../media/image321.png"/><Relationship Id="rId2" Type="http://schemas.openxmlformats.org/officeDocument/2006/relationships/notesSlide" Target="../notesSlides/notesSlide27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3.xml.rels><?xml version="1.0" encoding="UTF-8" standalone="yes"?>
<Relationships xmlns="http://schemas.openxmlformats.org/package/2006/relationships"><Relationship Id="rId3" Type="http://schemas.openxmlformats.org/officeDocument/2006/relationships/image" Target="../media/image322.png"/><Relationship Id="rId2" Type="http://schemas.openxmlformats.org/officeDocument/2006/relationships/notesSlide" Target="../notesSlides/notesSlide27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4.xml.rels><?xml version="1.0" encoding="UTF-8" standalone="yes"?>
<Relationships xmlns="http://schemas.openxmlformats.org/package/2006/relationships"><Relationship Id="rId3" Type="http://schemas.openxmlformats.org/officeDocument/2006/relationships/image" Target="../media/image323.png"/><Relationship Id="rId2" Type="http://schemas.openxmlformats.org/officeDocument/2006/relationships/notesSlide" Target="../notesSlides/notesSlide27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5.xml.rels><?xml version="1.0" encoding="UTF-8" standalone="yes"?>
<Relationships xmlns="http://schemas.openxmlformats.org/package/2006/relationships"><Relationship Id="rId8" Type="http://schemas.openxmlformats.org/officeDocument/2006/relationships/image" Target="../media/image292.png"/><Relationship Id="rId3" Type="http://schemas.openxmlformats.org/officeDocument/2006/relationships/image" Target="../media/image213.png"/><Relationship Id="rId7" Type="http://schemas.openxmlformats.org/officeDocument/2006/relationships/image" Target="../media/image28.png"/><Relationship Id="rId2" Type="http://schemas.openxmlformats.org/officeDocument/2006/relationships/notesSlide" Target="../notesSlides/notesSlide27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6.xml.rels><?xml version="1.0" encoding="UTF-8" standalone="yes"?>
<Relationships xmlns="http://schemas.openxmlformats.org/package/2006/relationships"><Relationship Id="rId3" Type="http://schemas.openxmlformats.org/officeDocument/2006/relationships/image" Target="../media/image324.png"/><Relationship Id="rId7" Type="http://schemas.openxmlformats.org/officeDocument/2006/relationships/image" Target="../media/image15.png"/><Relationship Id="rId2" Type="http://schemas.openxmlformats.org/officeDocument/2006/relationships/notesSlide" Target="../notesSlides/notesSlide277.xml"/><Relationship Id="rId1" Type="http://schemas.openxmlformats.org/officeDocument/2006/relationships/slideLayout" Target="../slideLayouts/slideLayout51.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7.wdp"/></Relationships>
</file>

<file path=ppt/slides/_rels/slide28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325.png"/><Relationship Id="rId7" Type="http://schemas.openxmlformats.org/officeDocument/2006/relationships/image" Target="../media/image14.png"/><Relationship Id="rId2" Type="http://schemas.openxmlformats.org/officeDocument/2006/relationships/notesSlide" Target="../notesSlides/notesSlide278.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s://goo.gl/HmwrHV" TargetMode="External"/><Relationship Id="rId4" Type="http://schemas.microsoft.com/office/2007/relationships/hdphoto" Target="../media/hdphoto8.wdp"/></Relationships>
</file>

<file path=ppt/slides/_rels/slide288.xml.rels><?xml version="1.0" encoding="UTF-8" standalone="yes"?>
<Relationships xmlns="http://schemas.openxmlformats.org/package/2006/relationships"><Relationship Id="rId8" Type="http://schemas.openxmlformats.org/officeDocument/2006/relationships/image" Target="../media/image292.png"/><Relationship Id="rId3" Type="http://schemas.openxmlformats.org/officeDocument/2006/relationships/image" Target="../media/image213.png"/><Relationship Id="rId7" Type="http://schemas.openxmlformats.org/officeDocument/2006/relationships/image" Target="../media/image28.png"/><Relationship Id="rId2" Type="http://schemas.openxmlformats.org/officeDocument/2006/relationships/notesSlide" Target="../notesSlides/notesSlide27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9.xml.rels><?xml version="1.0" encoding="UTF-8" standalone="yes"?>
<Relationships xmlns="http://schemas.openxmlformats.org/package/2006/relationships"><Relationship Id="rId8" Type="http://schemas.openxmlformats.org/officeDocument/2006/relationships/image" Target="../media/image327.png"/><Relationship Id="rId3" Type="http://schemas.openxmlformats.org/officeDocument/2006/relationships/image" Target="../media/image326.png"/><Relationship Id="rId7" Type="http://schemas.openxmlformats.org/officeDocument/2006/relationships/image" Target="../media/image15.png"/><Relationship Id="rId2" Type="http://schemas.openxmlformats.org/officeDocument/2006/relationships/notesSlide" Target="../notesSlides/notesSlide280.xml"/><Relationship Id="rId1" Type="http://schemas.openxmlformats.org/officeDocument/2006/relationships/slideLayout" Target="../slideLayouts/slideLayout38.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8.wdp"/><Relationship Id="rId9" Type="http://schemas.microsoft.com/office/2007/relationships/hdphoto" Target="../media/hdphoto9.wdp"/></Relationships>
</file>

<file path=ppt/slides/_rels/slide2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90.xml.rels><?xml version="1.0" encoding="UTF-8" standalone="yes"?>
<Relationships xmlns="http://schemas.openxmlformats.org/package/2006/relationships"><Relationship Id="rId8" Type="http://schemas.openxmlformats.org/officeDocument/2006/relationships/image" Target="../media/image328.png"/><Relationship Id="rId13" Type="http://schemas.openxmlformats.org/officeDocument/2006/relationships/hyperlink" Target="https://github.com/hfleitas" TargetMode="External"/><Relationship Id="rId3" Type="http://schemas.openxmlformats.org/officeDocument/2006/relationships/image" Target="../media/image325.png"/><Relationship Id="rId7" Type="http://schemas.openxmlformats.org/officeDocument/2006/relationships/hyperlink" Target="http://fleitasarts.com/" TargetMode="External"/><Relationship Id="rId12" Type="http://schemas.openxmlformats.org/officeDocument/2006/relationships/image" Target="../media/image329.png"/><Relationship Id="rId17" Type="http://schemas.openxmlformats.org/officeDocument/2006/relationships/image" Target="../media/image15.png"/><Relationship Id="rId2" Type="http://schemas.openxmlformats.org/officeDocument/2006/relationships/notesSlide" Target="../notesSlides/notesSlide281.xml"/><Relationship Id="rId16" Type="http://schemas.openxmlformats.org/officeDocument/2006/relationships/image" Target="../media/image14.png"/><Relationship Id="rId1" Type="http://schemas.openxmlformats.org/officeDocument/2006/relationships/slideLayout" Target="../slideLayouts/slideLayout38.xml"/><Relationship Id="rId6" Type="http://schemas.openxmlformats.org/officeDocument/2006/relationships/hyperlink" Target="mailto:hiram@fleitasarts.com?subject=Contact" TargetMode="External"/><Relationship Id="rId11" Type="http://schemas.openxmlformats.org/officeDocument/2006/relationships/hyperlink" Target="http://twitter.com/hiramfleitas" TargetMode="External"/><Relationship Id="rId5" Type="http://schemas.openxmlformats.org/officeDocument/2006/relationships/hyperlink" Target="http://linkedin.com/in/hiramfleitas" TargetMode="External"/><Relationship Id="rId15" Type="http://schemas.microsoft.com/office/2007/relationships/hdphoto" Target="../media/hdphoto9.wdp"/><Relationship Id="rId10" Type="http://schemas.openxmlformats.org/officeDocument/2006/relationships/hyperlink" Target="http://facebook.com/hiramfleitas" TargetMode="External"/><Relationship Id="rId4" Type="http://schemas.microsoft.com/office/2007/relationships/hdphoto" Target="../media/hdphoto8.wdp"/><Relationship Id="rId9" Type="http://schemas.microsoft.com/office/2007/relationships/hdphoto" Target="../media/hdphoto10.wdp"/><Relationship Id="rId14" Type="http://schemas.openxmlformats.org/officeDocument/2006/relationships/image" Target="../media/image327.png"/></Relationships>
</file>

<file path=ppt/slides/_rels/slide291.xml.rels><?xml version="1.0" encoding="UTF-8" standalone="yes"?>
<Relationships xmlns="http://schemas.openxmlformats.org/package/2006/relationships"><Relationship Id="rId3" Type="http://schemas.openxmlformats.org/officeDocument/2006/relationships/image" Target="../media/image330.png"/><Relationship Id="rId2" Type="http://schemas.openxmlformats.org/officeDocument/2006/relationships/notesSlide" Target="../notesSlides/notesSlide28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3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39.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5.png"/><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74.svg"/><Relationship Id="rId4" Type="http://schemas.openxmlformats.org/officeDocument/2006/relationships/image" Target="../media/image73.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2.wdp"/></Relationships>
</file>

<file path=ppt/slides/_rels/slide4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5.pn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74.svg"/><Relationship Id="rId4" Type="http://schemas.openxmlformats.org/officeDocument/2006/relationships/image" Target="../media/image73.png"/></Relationships>
</file>

<file path=ppt/slides/_rels/slide4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11.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87.png"/><Relationship Id="rId7" Type="http://schemas.openxmlformats.org/officeDocument/2006/relationships/image" Target="../media/image5.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9.svg"/><Relationship Id="rId4" Type="http://schemas.openxmlformats.org/officeDocument/2006/relationships/image" Target="../media/image88.png"/></Relationships>
</file>

<file path=ppt/slides/_rels/slide5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5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93.png"/></Relationships>
</file>

<file path=ppt/slides/_rels/slide5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96.png"/></Relationships>
</file>

<file path=ppt/slides/_rels/slide5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bit.ly/2GPsPMr" TargetMode="External"/><Relationship Id="rId4" Type="http://schemas.microsoft.com/office/2007/relationships/hdphoto" Target="../media/hdphoto3.wdp"/></Relationships>
</file>

<file path=ppt/slides/_rels/slide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6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5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58.xml"/><Relationship Id="rId1" Type="http://schemas.openxmlformats.org/officeDocument/2006/relationships/slideLayout" Target="../slideLayouts/slideLayout7.xml"/><Relationship Id="rId5" Type="http://schemas.openxmlformats.org/officeDocument/2006/relationships/image" Target="../media/image102.png"/><Relationship Id="rId4" Type="http://schemas.openxmlformats.org/officeDocument/2006/relationships/image" Target="../media/image5.png"/></Relationships>
</file>

<file path=ppt/slides/_rels/slide6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6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6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6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6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21.png"/><Relationship Id="rId3" Type="http://schemas.openxmlformats.org/officeDocument/2006/relationships/image" Target="../media/image13.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15.png"/><Relationship Id="rId12" Type="http://schemas.openxmlformats.org/officeDocument/2006/relationships/image" Target="../media/image19.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4.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22.png"/><Relationship Id="rId1" Type="http://schemas.openxmlformats.org/officeDocument/2006/relationships/slideLayout" Target="../slideLayouts/slideLayout38.xml"/><Relationship Id="rId6" Type="http://schemas.openxmlformats.org/officeDocument/2006/relationships/image" Target="../media/image14.png"/><Relationship Id="rId11" Type="http://schemas.openxmlformats.org/officeDocument/2006/relationships/image" Target="../media/image18.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5.png"/><Relationship Id="rId10" Type="http://schemas.openxmlformats.org/officeDocument/2006/relationships/image" Target="../media/image17.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4.wdp"/><Relationship Id="rId9" Type="http://schemas.openxmlformats.org/officeDocument/2006/relationships/image" Target="../media/image16.png"/><Relationship Id="rId14" Type="http://schemas.openxmlformats.org/officeDocument/2006/relationships/image" Target="../media/image20.png"/><Relationship Id="rId22" Type="http://schemas.openxmlformats.org/officeDocument/2006/relationships/image" Target="../media/image23.png"/></Relationships>
</file>

<file path=ppt/slides/_rels/slide7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6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15.png"/><Relationship Id="rId7" Type="http://schemas.openxmlformats.org/officeDocument/2006/relationships/image" Target="../media/image89.svg"/><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2.png"/><Relationship Id="rId7" Type="http://schemas.openxmlformats.org/officeDocument/2006/relationships/hyperlink" Target="http://fleitasarts.com/"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5.svg"/><Relationship Id="rId5" Type="http://schemas.openxmlformats.org/officeDocument/2006/relationships/image" Target="../media/image24.png"/><Relationship Id="rId4" Type="http://schemas.microsoft.com/office/2007/relationships/hdphoto" Target="../media/hdphoto3.wdp"/></Relationships>
</file>

<file path=ppt/slides/_rels/slide8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8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8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8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8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6.png"/><Relationship Id="rId7"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hyperlink" Target="https://community.powerbi.com/t5/Dashboard-in-a-Day/Dashboard-in-a-Day-Content/td-p/332900" TargetMode="External"/><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5.png"/></Relationships>
</file>

<file path=ppt/slides/_rels/slide9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8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8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8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9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9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98.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9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 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5"/>
            <a:extLst>
              <a:ext uri="{FF2B5EF4-FFF2-40B4-BE49-F238E27FC236}">
                <a16:creationId xmlns:a16="http://schemas.microsoft.com/office/drawing/2014/main" id="{E483ACE5-2C83-4838-8485-2CA95D3DFCD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054289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1055"/>
            <a:ext cx="12192000" cy="685588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9833647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18363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9543495" y="4215541"/>
            <a:ext cx="261338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912033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9582216" y="3355760"/>
            <a:ext cx="1017722" cy="19442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063239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748790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9001958" y="3355761"/>
            <a:ext cx="963574"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3390623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8354906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10629899" y="2574711"/>
            <a:ext cx="659607"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9606EE2E-56C3-4DF4-B08B-77AA1A1558C2}"/>
              </a:ext>
            </a:extLst>
          </p:cNvPr>
          <p:cNvSpPr/>
          <p:nvPr/>
        </p:nvSpPr>
        <p:spPr>
          <a:xfrm>
            <a:off x="9572625" y="4876801"/>
            <a:ext cx="2350651" cy="131207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7882909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5"/>
          <a:stretch>
            <a:fillRect/>
          </a:stretch>
        </p:blipFill>
        <p:spPr>
          <a:xfrm>
            <a:off x="0" y="2105"/>
            <a:ext cx="12192000" cy="6853790"/>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881062" y="3975959"/>
            <a:ext cx="764381" cy="61985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BC0D2EC-9543-49B4-8BA6-C53C078AED6C}"/>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78B65EA2-DCC0-49BA-B867-05DB0A4DC5C1}"/>
              </a:ext>
            </a:extLst>
          </p:cNvPr>
          <p:cNvSpPr/>
          <p:nvPr/>
        </p:nvSpPr>
        <p:spPr>
          <a:xfrm>
            <a:off x="3240350" y="1747261"/>
            <a:ext cx="21661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7DA3C9-3223-4A41-8B87-0843A070CB91}"/>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35708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logo&#10;&#10;Description generated with very high confidence">
            <a:hlinkClick r:id="rId5"/>
            <a:extLst>
              <a:ext uri="{FF2B5EF4-FFF2-40B4-BE49-F238E27FC236}">
                <a16:creationId xmlns:a16="http://schemas.microsoft.com/office/drawing/2014/main" id="{487E1EF1-47E5-4BFC-A1E7-0D31B5CAF37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6829832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628649" y="3429000"/>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5E97985-1317-4FAF-9FD7-0BA3CA404BB2}"/>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5694277-29FA-4F6D-BAD3-EA1209B9C213}"/>
              </a:ext>
            </a:extLst>
          </p:cNvPr>
          <p:cNvSpPr/>
          <p:nvPr/>
        </p:nvSpPr>
        <p:spPr>
          <a:xfrm>
            <a:off x="3240350" y="1747261"/>
            <a:ext cx="59822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2965872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628649" y="5572125"/>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EBD679AD-06BA-4793-98EA-EA581DB80751}"/>
              </a:ext>
            </a:extLst>
          </p:cNvPr>
          <p:cNvSpPr/>
          <p:nvPr/>
        </p:nvSpPr>
        <p:spPr>
          <a:xfrm>
            <a:off x="180975" y="1747261"/>
            <a:ext cx="23506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2D61F15-D916-4297-BDF9-57F5CF525C85}"/>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921B0FB-AB7E-45DD-A5C4-3732CC77B26E}"/>
              </a:ext>
            </a:extLst>
          </p:cNvPr>
          <p:cNvSpPr/>
          <p:nvPr/>
        </p:nvSpPr>
        <p:spPr>
          <a:xfrm>
            <a:off x="3240350" y="1747261"/>
            <a:ext cx="7723572"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5848660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628649" y="5309471"/>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8643D9AF-547B-4C6A-ABD9-D7CB4890595C}"/>
              </a:ext>
            </a:extLst>
          </p:cNvPr>
          <p:cNvSpPr/>
          <p:nvPr/>
        </p:nvSpPr>
        <p:spPr>
          <a:xfrm>
            <a:off x="6157911"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2266372-28E1-4925-AA76-E8B84B349625}"/>
              </a:ext>
            </a:extLst>
          </p:cNvPr>
          <p:cNvSpPr/>
          <p:nvPr/>
        </p:nvSpPr>
        <p:spPr>
          <a:xfrm>
            <a:off x="3240350" y="1747261"/>
            <a:ext cx="5752730"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2645249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626268" y="3970029"/>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FF03350E-8B60-474E-9576-35602D198696}"/>
              </a:ext>
            </a:extLst>
          </p:cNvPr>
          <p:cNvSpPr/>
          <p:nvPr/>
        </p:nvSpPr>
        <p:spPr>
          <a:xfrm>
            <a:off x="3117849" y="1747261"/>
            <a:ext cx="67807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C69A6B6-FA93-422E-8405-40E82BAAC045}"/>
              </a:ext>
            </a:extLst>
          </p:cNvPr>
          <p:cNvSpPr/>
          <p:nvPr/>
        </p:nvSpPr>
        <p:spPr>
          <a:xfrm>
            <a:off x="5599912"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658648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626268" y="3693804"/>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2BF5B415-AE55-4F55-B8C1-A003FEA25A30}"/>
              </a:ext>
            </a:extLst>
          </p:cNvPr>
          <p:cNvSpPr/>
          <p:nvPr/>
        </p:nvSpPr>
        <p:spPr>
          <a:xfrm>
            <a:off x="3117848" y="1747261"/>
            <a:ext cx="77216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717430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2022492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3</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Microsoft Flow</a:t>
            </a:r>
          </a:p>
        </p:txBody>
      </p:sp>
      <p:pic>
        <p:nvPicPr>
          <p:cNvPr id="14" name="Picture 13" descr="A close up of a logo&#10;&#10;Description generated with very high confidence">
            <a:hlinkClick r:id="rId5"/>
            <a:extLst>
              <a:ext uri="{FF2B5EF4-FFF2-40B4-BE49-F238E27FC236}">
                <a16:creationId xmlns:a16="http://schemas.microsoft.com/office/drawing/2014/main" id="{5F0FE6E1-21FC-4F12-966E-42062BB3A91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143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4995069" y="2607864"/>
            <a:ext cx="914400" cy="9144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5"/>
          <a:stretch>
            <a:fillRect/>
          </a:stretch>
        </p:blipFill>
        <p:spPr>
          <a:xfrm>
            <a:off x="0" y="2105"/>
            <a:ext cx="12192000" cy="6853790"/>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716337" y="5181995"/>
            <a:ext cx="914400" cy="9144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652044" y="5246289"/>
            <a:ext cx="914400" cy="9144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 up of a logo&#10;&#10;Description generated with very high confidence">
            <a:hlinkClick r:id="rId7"/>
            <a:extLst>
              <a:ext uri="{FF2B5EF4-FFF2-40B4-BE49-F238E27FC236}">
                <a16:creationId xmlns:a16="http://schemas.microsoft.com/office/drawing/2014/main" id="{CDE911B8-8FCC-4490-A41B-9EB672DC63B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8095638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1280287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8686800" y="3138937"/>
            <a:ext cx="137160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6067B5D8-8AE4-4103-9812-5DEF4A168EC6}"/>
              </a:ext>
            </a:extLst>
          </p:cNvPr>
          <p:cNvSpPr/>
          <p:nvPr/>
        </p:nvSpPr>
        <p:spPr>
          <a:xfrm>
            <a:off x="3505201" y="3023313"/>
            <a:ext cx="891251" cy="103433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3351135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6501379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3624605" y="3996187"/>
            <a:ext cx="2404720" cy="27101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76AF063-8D85-43E0-B4F5-8DA6F277B9A8}"/>
              </a:ext>
            </a:extLst>
          </p:cNvPr>
          <p:cNvSpPr/>
          <p:nvPr/>
        </p:nvSpPr>
        <p:spPr>
          <a:xfrm>
            <a:off x="9844430" y="2981325"/>
            <a:ext cx="75689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1979717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894217" y="5454134"/>
            <a:ext cx="6814686" cy="400110"/>
          </a:xfrm>
          <a:prstGeom prst="rect">
            <a:avLst/>
          </a:prstGeom>
        </p:spPr>
        <p:txBody>
          <a:bodyPr wrap="none">
            <a:spAutoFit/>
          </a:bodyPr>
          <a:lstStyle/>
          <a:p>
            <a:r>
              <a:rPr lang="en-US" sz="2000" b="1" dirty="0">
                <a:solidFill>
                  <a:srgbClr val="110188"/>
                </a:solidFill>
                <a:latin typeface="Consolas" panose="020B0609020204030204" pitchFamily="49" charset="0"/>
              </a:rPr>
              <a:t>body(</a:t>
            </a:r>
            <a:r>
              <a:rPr lang="en-US" sz="2000" dirty="0">
                <a:solidFill>
                  <a:srgbClr val="A31515"/>
                </a:solidFill>
                <a:latin typeface="Consolas" panose="020B0609020204030204" pitchFamily="49" charset="0"/>
              </a:rPr>
              <a:t>'Execute_stored_procedure'</a:t>
            </a:r>
            <a:r>
              <a:rPr lang="en-US" sz="2000" b="1" dirty="0">
                <a:solidFill>
                  <a:srgbClr val="110188"/>
                </a:solidFill>
                <a:latin typeface="Consolas" panose="020B0609020204030204" pitchFamily="49" charset="0"/>
              </a:rPr>
              <a:t>)</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a:t>
            </a:r>
            <a:r>
              <a:rPr lang="en-US" sz="2000" dirty="0" err="1">
                <a:solidFill>
                  <a:srgbClr val="A31515"/>
                </a:solidFill>
                <a:latin typeface="Consolas" panose="020B0609020204030204" pitchFamily="49" charset="0"/>
              </a:rPr>
              <a:t>resultsets</a:t>
            </a:r>
            <a:r>
              <a:rPr lang="en-US" sz="2000" dirty="0">
                <a:solidFill>
                  <a:srgbClr val="A31515"/>
                </a:solidFill>
                <a:latin typeface="Consolas" panose="020B0609020204030204" pitchFamily="49" charset="0"/>
              </a:rPr>
              <a:t>'</a:t>
            </a:r>
            <a:r>
              <a:rPr lang="en-US" sz="2000" dirty="0">
                <a:solidFill>
                  <a:srgbClr val="000000"/>
                </a:solidFill>
                <a:latin typeface="Consolas" panose="020B0609020204030204" pitchFamily="49" charset="0"/>
              </a:rPr>
              <a:t>]</a:t>
            </a:r>
            <a:endParaRPr lang="en-US" sz="2000" b="0" dirty="0">
              <a:solidFill>
                <a:srgbClr val="000000"/>
              </a:solidFill>
              <a:effectLst/>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5301560" y="3600450"/>
            <a:ext cx="3583680" cy="185368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9563100" y="4090987"/>
            <a:ext cx="80962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7364298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4653304" y="4089401"/>
            <a:ext cx="3995395" cy="78739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162108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1462940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6"/>
          <a:srcRect b="-1108"/>
          <a:stretch/>
        </p:blipFill>
        <p:spPr>
          <a:xfrm>
            <a:off x="2104531" y="4017129"/>
            <a:ext cx="6296520" cy="2336046"/>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CB4DB0BB-8403-45FA-958B-E0BCE1A4EB2C}"/>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7480728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543891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2747213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172098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11068901" y="105735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0611701" y="1463040"/>
            <a:ext cx="914400" cy="9144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5953976" y="5234940"/>
            <a:ext cx="914400" cy="9144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6239726" y="5769076"/>
            <a:ext cx="914400" cy="9144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9807055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240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pic>
        <p:nvPicPr>
          <p:cNvPr id="23" name="Picture 22" descr="A close up of a logo&#10;&#10;Description generated with very high confidence">
            <a:hlinkClick r:id="rId6"/>
            <a:extLst>
              <a:ext uri="{FF2B5EF4-FFF2-40B4-BE49-F238E27FC236}">
                <a16:creationId xmlns:a16="http://schemas.microsoft.com/office/drawing/2014/main" id="{8E7A92B8-4ACF-49E3-9D94-81844935D0E6}"/>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849123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06586218"/>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1781129"/>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8352"/>
            <a:ext cx="12192000" cy="683964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1101475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93737226"/>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4524901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6702641" y="302331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8103417-8D85-4AF2-8FDB-34A07B33324A}"/>
              </a:ext>
            </a:extLst>
          </p:cNvPr>
          <p:cNvSpPr/>
          <p:nvPr/>
        </p:nvSpPr>
        <p:spPr>
          <a:xfrm>
            <a:off x="6534150" y="5381625"/>
            <a:ext cx="1142999" cy="3143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7406033"/>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0"/>
            <a:ext cx="12191999" cy="685799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0560705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4</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Data Gateway</a:t>
            </a:r>
          </a:p>
        </p:txBody>
      </p:sp>
      <p:pic>
        <p:nvPicPr>
          <p:cNvPr id="14" name="Picture 13" descr="A close up of a logo&#10;&#10;Description generated with very high confidence">
            <a:hlinkClick r:id="rId5"/>
            <a:extLst>
              <a:ext uri="{FF2B5EF4-FFF2-40B4-BE49-F238E27FC236}">
                <a16:creationId xmlns:a16="http://schemas.microsoft.com/office/drawing/2014/main" id="{A4BDF5E6-F39B-4994-8317-5C46420549F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8839200" y="1537053"/>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AE69702-740C-4463-960E-F52BF32FAD4D}"/>
              </a:ext>
            </a:extLst>
          </p:cNvPr>
          <p:cNvSpPr/>
          <p:nvPr/>
        </p:nvSpPr>
        <p:spPr>
          <a:xfrm>
            <a:off x="10296526" y="679451"/>
            <a:ext cx="457200" cy="495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49030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pic>
        <p:nvPicPr>
          <p:cNvPr id="10" name="Picture 9" descr="A close up of a logo&#10;&#10;Description generated with very high confidence">
            <a:hlinkClick r:id="rId5"/>
            <a:extLst>
              <a:ext uri="{FF2B5EF4-FFF2-40B4-BE49-F238E27FC236}">
                <a16:creationId xmlns:a16="http://schemas.microsoft.com/office/drawing/2014/main" id="{6FFFFF0C-B5D9-4559-BE16-EE60EF01D58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2105"/>
            <a:ext cx="12192000" cy="6853790"/>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902743" y="3121492"/>
            <a:ext cx="6386513" cy="373650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DA7B8E58-BD9A-4BFF-8CD1-CA4B6EF5F9E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6079330" y="2710881"/>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9519761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2482885"/>
            <a:ext cx="5634037" cy="4403435"/>
          </a:xfrm>
          <a:prstGeom prst="rect">
            <a:avLst/>
          </a:prstGeom>
        </p:spPr>
      </p:pic>
      <p:pic>
        <p:nvPicPr>
          <p:cNvPr id="16" name="Picture 15" descr="A close up of a logo&#10;&#10;Description generated with very high confidence">
            <a:hlinkClick r:id="rId5"/>
            <a:extLst>
              <a:ext uri="{FF2B5EF4-FFF2-40B4-BE49-F238E27FC236}">
                <a16:creationId xmlns:a16="http://schemas.microsoft.com/office/drawing/2014/main" id="{3167FE26-FD44-435E-A0BA-3DA94F6A0CC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7"/>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8"/>
          <a:stretch>
            <a:fillRect/>
          </a:stretch>
        </p:blipFill>
        <p:spPr>
          <a:xfrm>
            <a:off x="-39102" y="642400"/>
            <a:ext cx="634415" cy="73252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8"/>
          <a:stretch>
            <a:fillRect/>
          </a:stretch>
        </p:blipFill>
        <p:spPr>
          <a:xfrm>
            <a:off x="595313" y="1227723"/>
            <a:ext cx="5174074" cy="5238750"/>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9"/>
          <a:stretch>
            <a:fillRect/>
          </a:stretch>
        </p:blipFill>
        <p:spPr>
          <a:xfrm>
            <a:off x="5632837" y="927610"/>
            <a:ext cx="5174074" cy="4769849"/>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10"/>
          <a:srcRect l="10500" t="2919" r="10305" b="69859"/>
          <a:stretch/>
        </p:blipFill>
        <p:spPr>
          <a:xfrm>
            <a:off x="8543925" y="642400"/>
            <a:ext cx="3829050" cy="3513063"/>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8"/>
          <a:stretch>
            <a:fillRect/>
          </a:stretch>
        </p:blipFill>
        <p:spPr>
          <a:xfrm>
            <a:off x="3048000" y="342900"/>
            <a:ext cx="6096000" cy="617220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909637" y="192545"/>
            <a:ext cx="6867525" cy="2962275"/>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3200400" y="1622883"/>
            <a:ext cx="6096000" cy="4857750"/>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8"/>
            <a:extLst>
              <a:ext uri="{FF2B5EF4-FFF2-40B4-BE49-F238E27FC236}">
                <a16:creationId xmlns:a16="http://schemas.microsoft.com/office/drawing/2014/main" id="{0ECACAEA-D6A7-4FC9-B721-660747BE5B24}"/>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5025588"/>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ACE45B24-0943-4999-8F87-48CC8025F87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626161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9F7592A-18AE-4F43-B913-159013A121D7}"/>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3678307"/>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EFAE804B-A5B4-47A1-B819-356FCCB6D893}"/>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2274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32" name="Picture 31" descr="A close up of a logo&#10;&#10;Description generated with very high confidence">
            <a:hlinkClick r:id="rId14"/>
            <a:extLst>
              <a:ext uri="{FF2B5EF4-FFF2-40B4-BE49-F238E27FC236}">
                <a16:creationId xmlns:a16="http://schemas.microsoft.com/office/drawing/2014/main" id="{4DD6E1DC-EBD9-4DEB-A9BC-A3242FADBF6F}"/>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984DA745-3ED8-4859-8A42-5A79411E12F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05987989"/>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1B1150D-A3E0-4ED3-8AB0-6CF9E7002798}"/>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6655999"/>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3048000" y="1276350"/>
            <a:ext cx="6096000" cy="4305300"/>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DE6B2A7-79EF-4DAE-9B93-5F80F33054C5}"/>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56051333"/>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3048000" y="619125"/>
            <a:ext cx="6096000" cy="5619750"/>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012FBB7A-F197-41EA-8D26-01E6A0C820F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0603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4062977" y="1509745"/>
            <a:ext cx="4066045" cy="3838510"/>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68295F21-0744-445A-8FB5-019E577C229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362809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3048000" y="481012"/>
            <a:ext cx="6096000" cy="5895975"/>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B06419F3-D1C1-4016-AD67-E7AE008CACF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0226753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9D4D08D-22C5-4E25-B010-A36565B73E31}"/>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83082787"/>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FF152EB-D840-418E-8214-FD455F620F7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19267255"/>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3459EB8-A19F-4F2C-B3F9-B456A8A7BA3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4067549"/>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4191000" y="3429000"/>
            <a:ext cx="3810000" cy="1524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8"/>
            <a:extLst>
              <a:ext uri="{FF2B5EF4-FFF2-40B4-BE49-F238E27FC236}">
                <a16:creationId xmlns:a16="http://schemas.microsoft.com/office/drawing/2014/main" id="{E0B1F4D1-A7AD-40EC-9DC2-556B1FB181D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10038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0" name="Picture 9" descr="A close up of a logo&#10;&#10;Description generated with very high confidence">
            <a:hlinkClick r:id="rId6"/>
            <a:extLst>
              <a:ext uri="{FF2B5EF4-FFF2-40B4-BE49-F238E27FC236}">
                <a16:creationId xmlns:a16="http://schemas.microsoft.com/office/drawing/2014/main" id="{C957858A-1E53-412E-8E6D-24DCA6DE077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67706" y="34925"/>
            <a:ext cx="398847" cy="607475"/>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39AACA12-35C9-470D-AB83-3E92A308B99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47219567"/>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5</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Cortana</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931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9446924"/>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549135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922484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07314503"/>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26688337"/>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91799356"/>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1688203"/>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A3AA84F-0ED4-449C-A895-FBFBA525B5AE}"/>
              </a:ext>
            </a:extLst>
          </p:cNvPr>
          <p:cNvSpPr/>
          <p:nvPr/>
        </p:nvSpPr>
        <p:spPr>
          <a:xfrm>
            <a:off x="9167149" y="520861"/>
            <a:ext cx="753140" cy="74596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383624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close up of a logo&#10;&#10;Description generated with very high confidence">
            <a:hlinkClick r:id="rId4"/>
            <a:extLst>
              <a:ext uri="{FF2B5EF4-FFF2-40B4-BE49-F238E27FC236}">
                <a16:creationId xmlns:a16="http://schemas.microsoft.com/office/drawing/2014/main" id="{4E5F5C2E-E0AF-4F32-B514-D3E91F862BF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406536164"/>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Pre-Lab Pointers</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17" name="Picture 16">
            <a:extLst>
              <a:ext uri="{FF2B5EF4-FFF2-40B4-BE49-F238E27FC236}">
                <a16:creationId xmlns:a16="http://schemas.microsoft.com/office/drawing/2014/main" id="{B0B4E499-8272-486C-A347-DD51D8B39B08}"/>
              </a:ext>
            </a:extLst>
          </p:cNvPr>
          <p:cNvPicPr>
            <a:picLocks noChangeAspect="1"/>
          </p:cNvPicPr>
          <p:nvPr/>
        </p:nvPicPr>
        <p:blipFill>
          <a:blip r:embed="rId8"/>
          <a:stretch>
            <a:fillRect/>
          </a:stretch>
        </p:blipFill>
        <p:spPr>
          <a:xfrm>
            <a:off x="5086200" y="1426428"/>
            <a:ext cx="298746" cy="357653"/>
          </a:xfrm>
          <a:prstGeom prst="rect">
            <a:avLst/>
          </a:prstGeom>
        </p:spPr>
      </p:pic>
      <p:pic>
        <p:nvPicPr>
          <p:cNvPr id="18" name="Picture 17">
            <a:extLst>
              <a:ext uri="{FF2B5EF4-FFF2-40B4-BE49-F238E27FC236}">
                <a16:creationId xmlns:a16="http://schemas.microsoft.com/office/drawing/2014/main" id="{D3AFF5F8-E704-43C4-B50C-AE7C1BB7EC70}"/>
              </a:ext>
            </a:extLst>
          </p:cNvPr>
          <p:cNvPicPr>
            <a:picLocks noChangeAspect="1"/>
          </p:cNvPicPr>
          <p:nvPr/>
        </p:nvPicPr>
        <p:blipFill>
          <a:blip r:embed="rId9"/>
          <a:stretch>
            <a:fillRect/>
          </a:stretch>
        </p:blipFill>
        <p:spPr>
          <a:xfrm>
            <a:off x="5076841" y="951807"/>
            <a:ext cx="317465" cy="380064"/>
          </a:xfrm>
          <a:prstGeom prst="rect">
            <a:avLst/>
          </a:prstGeom>
        </p:spPr>
      </p:pic>
      <p:pic>
        <p:nvPicPr>
          <p:cNvPr id="19" name="Picture 18">
            <a:extLst>
              <a:ext uri="{FF2B5EF4-FFF2-40B4-BE49-F238E27FC236}">
                <a16:creationId xmlns:a16="http://schemas.microsoft.com/office/drawing/2014/main" id="{CD4FE327-D1CC-461C-9299-B9DA6C54A683}"/>
              </a:ext>
            </a:extLst>
          </p:cNvPr>
          <p:cNvPicPr>
            <a:picLocks noChangeAspect="1"/>
          </p:cNvPicPr>
          <p:nvPr/>
        </p:nvPicPr>
        <p:blipFill>
          <a:blip r:embed="rId10"/>
          <a:stretch>
            <a:fillRect/>
          </a:stretch>
        </p:blipFill>
        <p:spPr>
          <a:xfrm>
            <a:off x="6518424" y="2343536"/>
            <a:ext cx="4966365" cy="1949064"/>
          </a:xfrm>
          <a:prstGeom prst="rect">
            <a:avLst/>
          </a:prstGeom>
        </p:spPr>
      </p:pic>
    </p:spTree>
    <p:extLst>
      <p:ext uri="{BB962C8B-B14F-4D97-AF65-F5344CB8AC3E}">
        <p14:creationId xmlns:p14="http://schemas.microsoft.com/office/powerpoint/2010/main" val="823385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1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7"/>
          <a:stretch>
            <a:fillRect/>
          </a:stretch>
        </p:blipFill>
        <p:spPr>
          <a:xfrm>
            <a:off x="50006" y="730918"/>
            <a:ext cx="434248" cy="519874"/>
          </a:xfrm>
          <a:prstGeom prst="rect">
            <a:avLst/>
          </a:prstGeom>
        </p:spPr>
      </p:pic>
      <p:pic>
        <p:nvPicPr>
          <p:cNvPr id="14" name="Picture 13">
            <a:extLst>
              <a:ext uri="{FF2B5EF4-FFF2-40B4-BE49-F238E27FC236}">
                <a16:creationId xmlns:a16="http://schemas.microsoft.com/office/drawing/2014/main" id="{DC311839-02DB-45CF-B684-38DF434CF3BA}"/>
              </a:ext>
            </a:extLst>
          </p:cNvPr>
          <p:cNvPicPr>
            <a:picLocks noChangeAspect="1"/>
          </p:cNvPicPr>
          <p:nvPr/>
        </p:nvPicPr>
        <p:blipFill>
          <a:blip r:embed="rId8"/>
          <a:stretch>
            <a:fillRect/>
          </a:stretch>
        </p:blipFill>
        <p:spPr>
          <a:xfrm>
            <a:off x="2309812" y="1943100"/>
            <a:ext cx="7572375" cy="2971800"/>
          </a:xfrm>
          <a:prstGeom prst="rect">
            <a:avLst/>
          </a:prstGeom>
        </p:spPr>
      </p:pic>
      <p:sp>
        <p:nvSpPr>
          <p:cNvPr id="18" name="Rectangle 17">
            <a:extLst>
              <a:ext uri="{FF2B5EF4-FFF2-40B4-BE49-F238E27FC236}">
                <a16:creationId xmlns:a16="http://schemas.microsoft.com/office/drawing/2014/main" id="{002872F4-F6BD-4949-B738-A74FA68D731D}"/>
              </a:ext>
            </a:extLst>
          </p:cNvPr>
          <p:cNvSpPr/>
          <p:nvPr/>
        </p:nvSpPr>
        <p:spPr>
          <a:xfrm>
            <a:off x="2340648" y="3040380"/>
            <a:ext cx="1446835"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DA8AB239-BE55-4841-B3CD-A10ABDFC32C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9950825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A145B5-4E24-489A-AF81-5062A8484A90}"/>
              </a:ext>
            </a:extLst>
          </p:cNvPr>
          <p:cNvPicPr>
            <a:picLocks noChangeAspect="1"/>
          </p:cNvPicPr>
          <p:nvPr/>
        </p:nvPicPr>
        <p:blipFill>
          <a:blip r:embed="rId3"/>
          <a:stretch>
            <a:fillRect/>
          </a:stretch>
        </p:blipFill>
        <p:spPr>
          <a:xfrm>
            <a:off x="16213" y="0"/>
            <a:ext cx="1215957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33171026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0409B351-CC0F-42E7-BD41-3C95C18CCBCD}"/>
              </a:ext>
            </a:extLst>
          </p:cNvPr>
          <p:cNvPicPr>
            <a:picLocks noChangeAspect="1"/>
          </p:cNvPicPr>
          <p:nvPr/>
        </p:nvPicPr>
        <p:blipFill>
          <a:blip r:embed="rId4"/>
          <a:stretch>
            <a:fillRect/>
          </a:stretch>
        </p:blipFill>
        <p:spPr>
          <a:xfrm>
            <a:off x="2309812" y="1943100"/>
            <a:ext cx="7572375" cy="29718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8"/>
          <a:stretch>
            <a:fillRect/>
          </a:stretch>
        </p:blipFill>
        <p:spPr>
          <a:xfrm>
            <a:off x="50006" y="730918"/>
            <a:ext cx="434248" cy="519874"/>
          </a:xfrm>
          <a:prstGeom prst="rect">
            <a:avLst/>
          </a:prstGeom>
        </p:spPr>
      </p:pic>
      <p:sp>
        <p:nvSpPr>
          <p:cNvPr id="19" name="Rectangle 18">
            <a:extLst>
              <a:ext uri="{FF2B5EF4-FFF2-40B4-BE49-F238E27FC236}">
                <a16:creationId xmlns:a16="http://schemas.microsoft.com/office/drawing/2014/main" id="{364F57DB-9995-4981-95DF-A78A940DAAE4}"/>
              </a:ext>
            </a:extLst>
          </p:cNvPr>
          <p:cNvSpPr/>
          <p:nvPr/>
        </p:nvSpPr>
        <p:spPr>
          <a:xfrm>
            <a:off x="3278198" y="2461645"/>
            <a:ext cx="3296222"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35D7BCBD-BB4F-4FC8-AF54-441F5107C52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314779206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BD9AE601-A540-40A3-A8E7-4BF1F72E60FA}"/>
              </a:ext>
            </a:extLst>
          </p:cNvPr>
          <p:cNvPicPr>
            <a:picLocks noChangeAspect="1"/>
          </p:cNvPicPr>
          <p:nvPr/>
        </p:nvPicPr>
        <p:blipFill rotWithShape="1">
          <a:blip r:embed="rId4"/>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C8576F11-3740-4503-BEDA-2421E66C4469}"/>
              </a:ext>
            </a:extLst>
          </p:cNvPr>
          <p:cNvPicPr>
            <a:picLocks noChangeAspect="1"/>
          </p:cNvPicPr>
          <p:nvPr/>
        </p:nvPicPr>
        <p:blipFill>
          <a:blip r:embed="rId8"/>
          <a:stretch>
            <a:fillRect/>
          </a:stretch>
        </p:blipFill>
        <p:spPr>
          <a:xfrm>
            <a:off x="4803742" y="2687202"/>
            <a:ext cx="2584516" cy="1483595"/>
          </a:xfrm>
          <a:prstGeom prst="rect">
            <a:avLst/>
          </a:prstGeom>
        </p:spPr>
      </p:pic>
      <p:pic>
        <p:nvPicPr>
          <p:cNvPr id="16" name="Picture 15">
            <a:extLst>
              <a:ext uri="{FF2B5EF4-FFF2-40B4-BE49-F238E27FC236}">
                <a16:creationId xmlns:a16="http://schemas.microsoft.com/office/drawing/2014/main" id="{BB2B4076-5E72-4EF2-9FFB-C7DA18505569}"/>
              </a:ext>
            </a:extLst>
          </p:cNvPr>
          <p:cNvPicPr>
            <a:picLocks noChangeAspect="1"/>
          </p:cNvPicPr>
          <p:nvPr/>
        </p:nvPicPr>
        <p:blipFill rotWithShape="1">
          <a:blip r:embed="rId9"/>
          <a:srcRect r="1194" b="1762"/>
          <a:stretch/>
        </p:blipFill>
        <p:spPr>
          <a:xfrm>
            <a:off x="0" y="3350984"/>
            <a:ext cx="4565017" cy="3521176"/>
          </a:xfrm>
          <a:prstGeom prst="rect">
            <a:avLst/>
          </a:prstGeom>
        </p:spPr>
      </p:pic>
      <p:pic>
        <p:nvPicPr>
          <p:cNvPr id="13" name="Picture 12">
            <a:extLst>
              <a:ext uri="{FF2B5EF4-FFF2-40B4-BE49-F238E27FC236}">
                <a16:creationId xmlns:a16="http://schemas.microsoft.com/office/drawing/2014/main" id="{28A6E700-71E1-4F0E-9701-10491F341A42}"/>
              </a:ext>
            </a:extLst>
          </p:cNvPr>
          <p:cNvPicPr>
            <a:picLocks noChangeAspect="1"/>
          </p:cNvPicPr>
          <p:nvPr/>
        </p:nvPicPr>
        <p:blipFill>
          <a:blip r:embed="rId10"/>
          <a:stretch>
            <a:fillRect/>
          </a:stretch>
        </p:blipFill>
        <p:spPr>
          <a:xfrm>
            <a:off x="50006" y="730918"/>
            <a:ext cx="434248" cy="519874"/>
          </a:xfrm>
          <a:prstGeom prst="rect">
            <a:avLst/>
          </a:prstGeom>
        </p:spPr>
      </p:pic>
      <p:pic>
        <p:nvPicPr>
          <p:cNvPr id="17" name="Picture 16">
            <a:extLst>
              <a:ext uri="{FF2B5EF4-FFF2-40B4-BE49-F238E27FC236}">
                <a16:creationId xmlns:a16="http://schemas.microsoft.com/office/drawing/2014/main" id="{EDB8A3E4-E63C-4B7B-BF1C-435180954CA9}"/>
              </a:ext>
            </a:extLst>
          </p:cNvPr>
          <p:cNvPicPr>
            <a:picLocks noChangeAspect="1"/>
          </p:cNvPicPr>
          <p:nvPr/>
        </p:nvPicPr>
        <p:blipFill>
          <a:blip r:embed="rId11"/>
          <a:stretch>
            <a:fillRect/>
          </a:stretch>
        </p:blipFill>
        <p:spPr>
          <a:xfrm>
            <a:off x="67706" y="34925"/>
            <a:ext cx="398847" cy="607475"/>
          </a:xfrm>
          <a:prstGeom prst="rect">
            <a:avLst/>
          </a:prstGeom>
        </p:spPr>
      </p:pic>
    </p:spTree>
    <p:extLst>
      <p:ext uri="{BB962C8B-B14F-4D97-AF65-F5344CB8AC3E}">
        <p14:creationId xmlns:p14="http://schemas.microsoft.com/office/powerpoint/2010/main" val="305259655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08C4A548-B57B-473D-B181-3EABA7008248}"/>
              </a:ext>
            </a:extLst>
          </p:cNvPr>
          <p:cNvPicPr>
            <a:picLocks noChangeAspect="1"/>
          </p:cNvPicPr>
          <p:nvPr/>
        </p:nvPicPr>
        <p:blipFill>
          <a:blip r:embed="rId4"/>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E336B089-8680-4760-85E0-C53A218C57D5}"/>
              </a:ext>
            </a:extLst>
          </p:cNvPr>
          <p:cNvPicPr>
            <a:picLocks noChangeAspect="1"/>
          </p:cNvPicPr>
          <p:nvPr/>
        </p:nvPicPr>
        <p:blipFill>
          <a:blip r:embed="rId5"/>
          <a:stretch>
            <a:fillRect/>
          </a:stretch>
        </p:blipFill>
        <p:spPr>
          <a:xfrm>
            <a:off x="857250" y="428625"/>
            <a:ext cx="10477500" cy="6000750"/>
          </a:xfrm>
          <a:prstGeom prst="rect">
            <a:avLst/>
          </a:prstGeom>
        </p:spPr>
      </p:pic>
      <p:sp>
        <p:nvSpPr>
          <p:cNvPr id="13" name="Parallelogram 1">
            <a:extLst>
              <a:ext uri="{FF2B5EF4-FFF2-40B4-BE49-F238E27FC236}">
                <a16:creationId xmlns:a16="http://schemas.microsoft.com/office/drawing/2014/main" id="{34FB115E-E0CE-49CC-A211-15CF638640A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4910193"/>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499188"/>
            <a:ext cx="8348663"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D1C57241-F635-4F88-A1AA-ABDC60AC4854}"/>
              </a:ext>
            </a:extLst>
          </p:cNvPr>
          <p:cNvSpPr/>
          <p:nvPr/>
        </p:nvSpPr>
        <p:spPr>
          <a:xfrm>
            <a:off x="3700458" y="1933175"/>
            <a:ext cx="1773242" cy="584775"/>
          </a:xfrm>
          <a:prstGeom prst="rect">
            <a:avLst/>
          </a:prstGeom>
        </p:spPr>
        <p:txBody>
          <a:bodyPr wrap="none">
            <a:spAutoFit/>
          </a:bodyPr>
          <a:lstStyle/>
          <a:p>
            <a:r>
              <a:rPr lang="en-US" sz="3200" dirty="0">
                <a:solidFill>
                  <a:srgbClr val="00B050"/>
                </a:solidFill>
                <a:cs typeface="Segoe UI Light" panose="020B0502040204020203" pitchFamily="34" charset="0"/>
              </a:rPr>
              <a:t>1. Ribbon</a:t>
            </a:r>
            <a:endParaRPr lang="en-US" sz="3200" dirty="0">
              <a:solidFill>
                <a:srgbClr val="00B050"/>
              </a:solidFill>
            </a:endParaRPr>
          </a:p>
        </p:txBody>
      </p:sp>
      <p:cxnSp>
        <p:nvCxnSpPr>
          <p:cNvPr id="14" name="Straight Arrow Connector 13">
            <a:extLst>
              <a:ext uri="{FF2B5EF4-FFF2-40B4-BE49-F238E27FC236}">
                <a16:creationId xmlns:a16="http://schemas.microsoft.com/office/drawing/2014/main" id="{4F6F02DE-F93A-4253-B13D-EF5E33A85AB9}"/>
              </a:ext>
            </a:extLst>
          </p:cNvPr>
          <p:cNvCxnSpPr>
            <a:cxnSpLocks/>
            <a:stCxn id="3" idx="0"/>
          </p:cNvCxnSpPr>
          <p:nvPr/>
        </p:nvCxnSpPr>
        <p:spPr>
          <a:xfrm flipH="1" flipV="1">
            <a:off x="4577461" y="904875"/>
            <a:ext cx="9618" cy="10283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1AC06D5-7B8C-41EC-8E7F-6AE33451967D}"/>
              </a:ext>
            </a:extLst>
          </p:cNvPr>
          <p:cNvCxnSpPr>
            <a:cxnSpLocks/>
            <a:stCxn id="28" idx="1"/>
          </p:cNvCxnSpPr>
          <p:nvPr/>
        </p:nvCxnSpPr>
        <p:spPr>
          <a:xfrm flipH="1" flipV="1">
            <a:off x="254795" y="1272432"/>
            <a:ext cx="736224" cy="31811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86F6741-F207-430B-AB78-8C220E183B22}"/>
              </a:ext>
            </a:extLst>
          </p:cNvPr>
          <p:cNvSpPr/>
          <p:nvPr/>
        </p:nvSpPr>
        <p:spPr>
          <a:xfrm>
            <a:off x="991019" y="1298162"/>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32" name="Rectangle 31">
            <a:extLst>
              <a:ext uri="{FF2B5EF4-FFF2-40B4-BE49-F238E27FC236}">
                <a16:creationId xmlns:a16="http://schemas.microsoft.com/office/drawing/2014/main" id="{E6CB9BEE-62A4-4093-9768-19E7408E2993}"/>
              </a:ext>
            </a:extLst>
          </p:cNvPr>
          <p:cNvSpPr/>
          <p:nvPr/>
        </p:nvSpPr>
        <p:spPr>
          <a:xfrm>
            <a:off x="3700458" y="3400366"/>
            <a:ext cx="1754006" cy="584775"/>
          </a:xfrm>
          <a:prstGeom prst="rect">
            <a:avLst/>
          </a:prstGeom>
        </p:spPr>
        <p:txBody>
          <a:bodyPr wrap="none">
            <a:spAutoFit/>
          </a:bodyPr>
          <a:lstStyle/>
          <a:p>
            <a:r>
              <a:rPr lang="en-US" sz="3200" dirty="0">
                <a:solidFill>
                  <a:srgbClr val="00B050"/>
                </a:solidFill>
                <a:cs typeface="Segoe UI Light" panose="020B0502040204020203" pitchFamily="34" charset="0"/>
              </a:rPr>
              <a:t>2. Canvas</a:t>
            </a:r>
          </a:p>
        </p:txBody>
      </p:sp>
      <p:sp>
        <p:nvSpPr>
          <p:cNvPr id="33" name="Rectangle 32">
            <a:extLst>
              <a:ext uri="{FF2B5EF4-FFF2-40B4-BE49-F238E27FC236}">
                <a16:creationId xmlns:a16="http://schemas.microsoft.com/office/drawing/2014/main" id="{3C5389F9-2527-42FD-85B7-D1A18E2D9B20}"/>
              </a:ext>
            </a:extLst>
          </p:cNvPr>
          <p:cNvSpPr/>
          <p:nvPr/>
        </p:nvSpPr>
        <p:spPr>
          <a:xfrm>
            <a:off x="3727330" y="4878338"/>
            <a:ext cx="1544590" cy="584775"/>
          </a:xfrm>
          <a:prstGeom prst="rect">
            <a:avLst/>
          </a:prstGeom>
        </p:spPr>
        <p:txBody>
          <a:bodyPr wrap="none">
            <a:spAutoFit/>
          </a:bodyPr>
          <a:lstStyle/>
          <a:p>
            <a:r>
              <a:rPr lang="en-US" sz="3200" dirty="0">
                <a:solidFill>
                  <a:srgbClr val="00B050"/>
                </a:solidFill>
                <a:cs typeface="Segoe UI Light" panose="020B0502040204020203" pitchFamily="34" charset="0"/>
              </a:rPr>
              <a:t>3. Pages</a:t>
            </a:r>
          </a:p>
        </p:txBody>
      </p:sp>
      <p:cxnSp>
        <p:nvCxnSpPr>
          <p:cNvPr id="34" name="Straight Arrow Connector 33">
            <a:extLst>
              <a:ext uri="{FF2B5EF4-FFF2-40B4-BE49-F238E27FC236}">
                <a16:creationId xmlns:a16="http://schemas.microsoft.com/office/drawing/2014/main" id="{6BD992B0-B923-4B06-A009-DE447DA01260}"/>
              </a:ext>
            </a:extLst>
          </p:cNvPr>
          <p:cNvCxnSpPr>
            <a:cxnSpLocks/>
            <a:endCxn id="50" idx="0"/>
          </p:cNvCxnSpPr>
          <p:nvPr/>
        </p:nvCxnSpPr>
        <p:spPr>
          <a:xfrm flipH="1">
            <a:off x="2651903" y="5429250"/>
            <a:ext cx="1100947" cy="9270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786DA644-0332-4858-999A-C2D447B54829}"/>
              </a:ext>
            </a:extLst>
          </p:cNvPr>
          <p:cNvSpPr/>
          <p:nvPr/>
        </p:nvSpPr>
        <p:spPr>
          <a:xfrm>
            <a:off x="7511320" y="3400366"/>
            <a:ext cx="1548822"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5. Fields</a:t>
            </a:r>
          </a:p>
        </p:txBody>
      </p:sp>
      <p:sp>
        <p:nvSpPr>
          <p:cNvPr id="40" name="Rectangle 39">
            <a:extLst>
              <a:ext uri="{FF2B5EF4-FFF2-40B4-BE49-F238E27FC236}">
                <a16:creationId xmlns:a16="http://schemas.microsoft.com/office/drawing/2014/main" id="{565D2693-C17F-49D1-8164-D715C751502A}"/>
              </a:ext>
            </a:extLst>
          </p:cNvPr>
          <p:cNvSpPr/>
          <p:nvPr/>
        </p:nvSpPr>
        <p:spPr>
          <a:xfrm>
            <a:off x="6205834" y="1345904"/>
            <a:ext cx="2854308"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4. Visualizations</a:t>
            </a:r>
          </a:p>
        </p:txBody>
      </p:sp>
      <p:cxnSp>
        <p:nvCxnSpPr>
          <p:cNvPr id="41" name="Straight Arrow Connector 40">
            <a:extLst>
              <a:ext uri="{FF2B5EF4-FFF2-40B4-BE49-F238E27FC236}">
                <a16:creationId xmlns:a16="http://schemas.microsoft.com/office/drawing/2014/main" id="{30DA32C6-EEBE-4A6E-85FF-BC585AA575EC}"/>
              </a:ext>
            </a:extLst>
          </p:cNvPr>
          <p:cNvCxnSpPr>
            <a:cxnSpLocks/>
            <a:stCxn id="40" idx="3"/>
          </p:cNvCxnSpPr>
          <p:nvPr/>
        </p:nvCxnSpPr>
        <p:spPr>
          <a:xfrm flipV="1">
            <a:off x="9060142" y="1217348"/>
            <a:ext cx="460376" cy="42094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64056594-93DC-4847-9192-1E55921DFA2C}"/>
              </a:ext>
            </a:extLst>
          </p:cNvPr>
          <p:cNvCxnSpPr>
            <a:cxnSpLocks/>
            <a:stCxn id="39" idx="3"/>
          </p:cNvCxnSpPr>
          <p:nvPr/>
        </p:nvCxnSpPr>
        <p:spPr>
          <a:xfrm flipV="1">
            <a:off x="9060142" y="1404066"/>
            <a:ext cx="2138569" cy="228868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3700FC05-27D5-4D2F-B753-976B5303F304}"/>
              </a:ext>
            </a:extLst>
          </p:cNvPr>
          <p:cNvSpPr/>
          <p:nvPr/>
        </p:nvSpPr>
        <p:spPr>
          <a:xfrm>
            <a:off x="258470" y="6356311"/>
            <a:ext cx="478686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237856"/>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914400"/>
            <a:ext cx="8348663"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D86B3D47-9BC6-40D9-B537-2FAD59147E52}"/>
              </a:ext>
            </a:extLst>
          </p:cNvPr>
          <p:cNvSpPr/>
          <p:nvPr/>
        </p:nvSpPr>
        <p:spPr>
          <a:xfrm>
            <a:off x="1" y="211931"/>
            <a:ext cx="2508250"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080E68D5-68CC-43B5-B0C7-BDE4E972EFE5}"/>
              </a:ext>
            </a:extLst>
          </p:cNvPr>
          <p:cNvSpPr/>
          <p:nvPr/>
        </p:nvSpPr>
        <p:spPr>
          <a:xfrm>
            <a:off x="9494554" y="1061163"/>
            <a:ext cx="262759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80572701"/>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E6CB35-2E46-4B70-8076-85E77AD9C1D4}"/>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96481CF7-0EA6-468F-A22A-C223D1B91334}"/>
              </a:ext>
            </a:extLst>
          </p:cNvPr>
          <p:cNvSpPr/>
          <p:nvPr/>
        </p:nvSpPr>
        <p:spPr>
          <a:xfrm>
            <a:off x="1308099"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DF67277F-74DE-434A-AF19-97CA25BA89FD}"/>
              </a:ext>
            </a:extLst>
          </p:cNvPr>
          <p:cNvSpPr/>
          <p:nvPr/>
        </p:nvSpPr>
        <p:spPr>
          <a:xfrm>
            <a:off x="3096192" y="2890391"/>
            <a:ext cx="3022815"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Create visuals or </a:t>
            </a:r>
          </a:p>
          <a:p>
            <a:pPr algn="ctr"/>
            <a:r>
              <a:rPr lang="en-US" sz="3200" dirty="0">
                <a:solidFill>
                  <a:srgbClr val="00B050"/>
                </a:solidFill>
                <a:cs typeface="Segoe UI Light" panose="020B0502040204020203" pitchFamily="34" charset="0"/>
              </a:rPr>
              <a:t>view data here</a:t>
            </a:r>
          </a:p>
        </p:txBody>
      </p:sp>
      <p:sp>
        <p:nvSpPr>
          <p:cNvPr id="13" name="Rectangle 12">
            <a:extLst>
              <a:ext uri="{FF2B5EF4-FFF2-40B4-BE49-F238E27FC236}">
                <a16:creationId xmlns:a16="http://schemas.microsoft.com/office/drawing/2014/main" id="{586CA6AA-9201-41AA-B9A0-034460B07AEF}"/>
              </a:ext>
            </a:extLst>
          </p:cNvPr>
          <p:cNvSpPr/>
          <p:nvPr/>
        </p:nvSpPr>
        <p:spPr>
          <a:xfrm>
            <a:off x="9494554" y="1061163"/>
            <a:ext cx="2627596" cy="4005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5C1B21D-680A-498C-B5A7-B31BFBB8BB94}"/>
              </a:ext>
            </a:extLst>
          </p:cNvPr>
          <p:cNvSpPr/>
          <p:nvPr/>
        </p:nvSpPr>
        <p:spPr>
          <a:xfrm>
            <a:off x="9872518" y="5014124"/>
            <a:ext cx="1975028"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Edit report</a:t>
            </a:r>
          </a:p>
          <a:p>
            <a:pPr algn="ctr"/>
            <a:r>
              <a:rPr lang="en-US" sz="3200" dirty="0">
                <a:solidFill>
                  <a:srgbClr val="00B050"/>
                </a:solidFill>
                <a:cs typeface="Segoe UI Light" panose="020B0502040204020203" pitchFamily="34" charset="0"/>
              </a:rPr>
              <a:t>elements</a:t>
            </a:r>
          </a:p>
        </p:txBody>
      </p:sp>
      <p:sp>
        <p:nvSpPr>
          <p:cNvPr id="15" name="Rectangle 14">
            <a:extLst>
              <a:ext uri="{FF2B5EF4-FFF2-40B4-BE49-F238E27FC236}">
                <a16:creationId xmlns:a16="http://schemas.microsoft.com/office/drawing/2014/main" id="{28D34FC3-CD5B-41D7-A618-0E98203C0A1F}"/>
              </a:ext>
            </a:extLst>
          </p:cNvPr>
          <p:cNvSpPr/>
          <p:nvPr/>
        </p:nvSpPr>
        <p:spPr>
          <a:xfrm>
            <a:off x="610645" y="397669"/>
            <a:ext cx="809364" cy="7545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9935475"/>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1536BE8B-BB58-4D18-81FD-02D8C7D52ECA}"/>
              </a:ext>
            </a:extLst>
          </p:cNvPr>
          <p:cNvPicPr>
            <a:picLocks noChangeAspect="1"/>
          </p:cNvPicPr>
          <p:nvPr/>
        </p:nvPicPr>
        <p:blipFill>
          <a:blip r:embed="rId7"/>
          <a:stretch>
            <a:fillRect/>
          </a:stretch>
        </p:blipFill>
        <p:spPr>
          <a:xfrm>
            <a:off x="3289735"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180369"/>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718843" y="4294134"/>
            <a:ext cx="1377157" cy="46122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809792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F619875-6AA7-4A92-985F-81C458A8DDC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2831679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52E234E0-1BA5-408B-B45E-86CE6D29BB07}"/>
              </a:ext>
            </a:extLst>
          </p:cNvPr>
          <p:cNvPicPr>
            <a:picLocks noChangeAspect="1"/>
          </p:cNvPicPr>
          <p:nvPr/>
        </p:nvPicPr>
        <p:blipFill>
          <a:blip r:embed="rId7"/>
          <a:stretch>
            <a:fillRect/>
          </a:stretch>
        </p:blipFill>
        <p:spPr>
          <a:xfrm>
            <a:off x="3289737"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408611"/>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867275" y="3825875"/>
            <a:ext cx="1654175" cy="257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2595464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44DDD095-2936-481B-9B7B-0A5B5AD11418}"/>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6" name="Rectangle 15">
            <a:extLst>
              <a:ext uri="{FF2B5EF4-FFF2-40B4-BE49-F238E27FC236}">
                <a16:creationId xmlns:a16="http://schemas.microsoft.com/office/drawing/2014/main" id="{761144A1-2483-4D59-90C1-CDD369EAD668}"/>
              </a:ext>
            </a:extLst>
          </p:cNvPr>
          <p:cNvSpPr/>
          <p:nvPr/>
        </p:nvSpPr>
        <p:spPr>
          <a:xfrm>
            <a:off x="66595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5685F677-0DBF-4E96-88A3-C4AF44C8C46B}"/>
              </a:ext>
            </a:extLst>
          </p:cNvPr>
          <p:cNvSpPr/>
          <p:nvPr/>
        </p:nvSpPr>
        <p:spPr>
          <a:xfrm>
            <a:off x="4605338" y="397668"/>
            <a:ext cx="1890712" cy="8167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97F30732-8CA7-460E-9A72-BC4408B512F8}"/>
              </a:ext>
            </a:extLst>
          </p:cNvPr>
          <p:cNvSpPr/>
          <p:nvPr/>
        </p:nvSpPr>
        <p:spPr>
          <a:xfrm>
            <a:off x="6718300" y="397669"/>
            <a:ext cx="511175" cy="688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C79E3B25-3D6E-4DFB-8579-CD94A0759E70}"/>
              </a:ext>
            </a:extLst>
          </p:cNvPr>
          <p:cNvSpPr/>
          <p:nvPr/>
        </p:nvSpPr>
        <p:spPr>
          <a:xfrm>
            <a:off x="453231" y="2974179"/>
            <a:ext cx="965994" cy="97393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7E1E3CB6-D32B-49B7-864E-C54F87F9BD31}"/>
              </a:ext>
            </a:extLst>
          </p:cNvPr>
          <p:cNvSpPr/>
          <p:nvPr/>
        </p:nvSpPr>
        <p:spPr>
          <a:xfrm>
            <a:off x="8926513" y="397669"/>
            <a:ext cx="1060450"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C6655F49-5D06-4D58-987E-65D4515F47F8}"/>
              </a:ext>
            </a:extLst>
          </p:cNvPr>
          <p:cNvSpPr/>
          <p:nvPr/>
        </p:nvSpPr>
        <p:spPr>
          <a:xfrm>
            <a:off x="9821190" y="2420539"/>
            <a:ext cx="2012221" cy="144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8AACDA12-154C-40AD-9B1B-45C5AB3C994B}"/>
              </a:ext>
            </a:extLst>
          </p:cNvPr>
          <p:cNvSpPr/>
          <p:nvPr/>
        </p:nvSpPr>
        <p:spPr>
          <a:xfrm>
            <a:off x="7454106" y="397668"/>
            <a:ext cx="1472407"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90232106"/>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2" name="Picture 11">
            <a:extLst>
              <a:ext uri="{FF2B5EF4-FFF2-40B4-BE49-F238E27FC236}">
                <a16:creationId xmlns:a16="http://schemas.microsoft.com/office/drawing/2014/main" id="{2C15C885-11FF-4C2E-B266-25483B585F5E}"/>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3" name="Rectangle 12">
            <a:extLst>
              <a:ext uri="{FF2B5EF4-FFF2-40B4-BE49-F238E27FC236}">
                <a16:creationId xmlns:a16="http://schemas.microsoft.com/office/drawing/2014/main" id="{F00DF9E6-4365-4E72-9171-1F42392AE3B1}"/>
              </a:ext>
            </a:extLst>
          </p:cNvPr>
          <p:cNvSpPr/>
          <p:nvPr/>
        </p:nvSpPr>
        <p:spPr>
          <a:xfrm>
            <a:off x="122221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2067878" y="430344"/>
            <a:ext cx="3199447"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606426" y="430344"/>
            <a:ext cx="650874"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90368084"/>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4" name="Picture 13">
            <a:extLst>
              <a:ext uri="{FF2B5EF4-FFF2-40B4-BE49-F238E27FC236}">
                <a16:creationId xmlns:a16="http://schemas.microsoft.com/office/drawing/2014/main" id="{45F5CEF5-14EE-4BA6-B32F-F335D091D84A}"/>
              </a:ext>
            </a:extLst>
          </p:cNvPr>
          <p:cNvPicPr>
            <a:picLocks noChangeAspect="1"/>
          </p:cNvPicPr>
          <p:nvPr/>
        </p:nvPicPr>
        <p:blipFill>
          <a:blip r:embed="rId4"/>
          <a:stretch>
            <a:fillRect/>
          </a:stretch>
        </p:blipFill>
        <p:spPr>
          <a:xfrm>
            <a:off x="222250" y="-14160"/>
            <a:ext cx="11747500" cy="650293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F00DF9E6-4365-4E72-9171-1F42392AE3B1}"/>
              </a:ext>
            </a:extLst>
          </p:cNvPr>
          <p:cNvSpPr/>
          <p:nvPr/>
        </p:nvSpPr>
        <p:spPr>
          <a:xfrm>
            <a:off x="1812290" y="225556"/>
            <a:ext cx="75231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3031490" y="430344"/>
            <a:ext cx="1286509"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1863010" y="430344"/>
            <a:ext cx="1168479"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79614433"/>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B19690-D9D5-4719-9FC9-79DA3B208606}"/>
              </a:ext>
            </a:extLst>
          </p:cNvPr>
          <p:cNvPicPr>
            <a:picLocks noChangeAspect="1"/>
          </p:cNvPicPr>
          <p:nvPr/>
        </p:nvPicPr>
        <p:blipFill rotWithShape="1">
          <a:blip r:embed="rId3"/>
          <a:srcRect l="100" t="313" r="187" b="347"/>
          <a:stretch/>
        </p:blipFill>
        <p:spPr>
          <a:xfrm>
            <a:off x="-2138" y="0"/>
            <a:ext cx="1220480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370D003C-F499-4114-BB4D-A742801140EF}"/>
              </a:ext>
            </a:extLst>
          </p:cNvPr>
          <p:cNvSpPr/>
          <p:nvPr/>
        </p:nvSpPr>
        <p:spPr>
          <a:xfrm>
            <a:off x="417354"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73F10F-4182-464E-B1DF-63EFE74B94A7}"/>
              </a:ext>
            </a:extLst>
          </p:cNvPr>
          <p:cNvSpPr/>
          <p:nvPr/>
        </p:nvSpPr>
        <p:spPr>
          <a:xfrm>
            <a:off x="6076950" y="402024"/>
            <a:ext cx="585788" cy="486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9C6A91FD-4740-47DF-8C06-7D0F53AF4A47}"/>
              </a:ext>
            </a:extLst>
          </p:cNvPr>
          <p:cNvCxnSpPr>
            <a:cxnSpLocks/>
          </p:cNvCxnSpPr>
          <p:nvPr/>
        </p:nvCxnSpPr>
        <p:spPr>
          <a:xfrm>
            <a:off x="6662738" y="888206"/>
            <a:ext cx="1340643" cy="19478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644787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5C2211-E1D7-45A5-9321-F41FEFB87899}"/>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B2D334D5-C575-47D5-B647-E8F9722AB66B}"/>
              </a:ext>
            </a:extLst>
          </p:cNvPr>
          <p:cNvSpPr/>
          <p:nvPr/>
        </p:nvSpPr>
        <p:spPr>
          <a:xfrm>
            <a:off x="974566"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895C45-5199-4A20-90C5-0FADA6789585}"/>
              </a:ext>
            </a:extLst>
          </p:cNvPr>
          <p:cNvSpPr/>
          <p:nvPr/>
        </p:nvSpPr>
        <p:spPr>
          <a:xfrm>
            <a:off x="750094" y="402024"/>
            <a:ext cx="1212056" cy="6385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B07A207D-B348-4633-85E3-26B1A271CE3C}"/>
              </a:ext>
            </a:extLst>
          </p:cNvPr>
          <p:cNvSpPr/>
          <p:nvPr/>
        </p:nvSpPr>
        <p:spPr>
          <a:xfrm>
            <a:off x="10290629" y="1040606"/>
            <a:ext cx="845009" cy="53633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06064003"/>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5115B7-E374-4B96-9BDC-F934EB19F3D3}"/>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5EAC002E-9344-4937-9AC6-285DC6787A10}"/>
              </a:ext>
            </a:extLst>
          </p:cNvPr>
          <p:cNvSpPr/>
          <p:nvPr/>
        </p:nvSpPr>
        <p:spPr>
          <a:xfrm>
            <a:off x="10534650" y="3428999"/>
            <a:ext cx="1276219" cy="224838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7972FF83-58B6-4480-A282-DBA5B6185680}"/>
              </a:ext>
            </a:extLst>
          </p:cNvPr>
          <p:cNvSpPr/>
          <p:nvPr/>
        </p:nvSpPr>
        <p:spPr>
          <a:xfrm>
            <a:off x="16667" y="399643"/>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BC43439-07FD-4095-9AC8-2B00952712D7}"/>
              </a:ext>
            </a:extLst>
          </p:cNvPr>
          <p:cNvSpPr/>
          <p:nvPr/>
        </p:nvSpPr>
        <p:spPr>
          <a:xfrm>
            <a:off x="11810869" y="158257"/>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E6721FEB-D255-4DD0-8F5E-AED7797ECC59}"/>
              </a:ext>
            </a:extLst>
          </p:cNvPr>
          <p:cNvCxnSpPr>
            <a:cxnSpLocks/>
            <a:stCxn id="15" idx="1"/>
            <a:endCxn id="12" idx="3"/>
          </p:cNvCxnSpPr>
          <p:nvPr/>
        </p:nvCxnSpPr>
        <p:spPr>
          <a:xfrm flipH="1" flipV="1">
            <a:off x="304766" y="543097"/>
            <a:ext cx="686253" cy="22018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D081DE5-15B8-47A5-99C6-32170152FD6B}"/>
              </a:ext>
            </a:extLst>
          </p:cNvPr>
          <p:cNvSpPr/>
          <p:nvPr/>
        </p:nvSpPr>
        <p:spPr>
          <a:xfrm>
            <a:off x="991019" y="470895"/>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16" name="Rectangle 15">
            <a:extLst>
              <a:ext uri="{FF2B5EF4-FFF2-40B4-BE49-F238E27FC236}">
                <a16:creationId xmlns:a16="http://schemas.microsoft.com/office/drawing/2014/main" id="{26F84C7A-D2D4-4C6F-8962-37179BB72B97}"/>
              </a:ext>
            </a:extLst>
          </p:cNvPr>
          <p:cNvSpPr/>
          <p:nvPr/>
        </p:nvSpPr>
        <p:spPr>
          <a:xfrm>
            <a:off x="6653151" y="9323"/>
            <a:ext cx="2232086" cy="584775"/>
          </a:xfrm>
          <a:prstGeom prst="rect">
            <a:avLst/>
          </a:prstGeom>
        </p:spPr>
        <p:txBody>
          <a:bodyPr wrap="square">
            <a:spAutoFit/>
          </a:bodyPr>
          <a:lstStyle/>
          <a:p>
            <a:pPr algn="r"/>
            <a:r>
              <a:rPr lang="en-US" sz="3200" dirty="0">
                <a:solidFill>
                  <a:srgbClr val="00B050"/>
                </a:solidFill>
                <a:cs typeface="Segoe UI Light" panose="020B0502040204020203" pitchFamily="34" charset="0"/>
              </a:rPr>
              <a:t>Hide Ribbon</a:t>
            </a:r>
          </a:p>
        </p:txBody>
      </p:sp>
      <p:cxnSp>
        <p:nvCxnSpPr>
          <p:cNvPr id="17" name="Straight Arrow Connector 16">
            <a:extLst>
              <a:ext uri="{FF2B5EF4-FFF2-40B4-BE49-F238E27FC236}">
                <a16:creationId xmlns:a16="http://schemas.microsoft.com/office/drawing/2014/main" id="{43C7CD2B-301E-4EAD-9F01-0B4C66ED30BA}"/>
              </a:ext>
            </a:extLst>
          </p:cNvPr>
          <p:cNvCxnSpPr>
            <a:cxnSpLocks/>
            <a:stCxn id="16" idx="3"/>
            <a:endCxn id="13" idx="1"/>
          </p:cNvCxnSpPr>
          <p:nvPr/>
        </p:nvCxnSpPr>
        <p:spPr>
          <a:xfrm>
            <a:off x="8885237" y="301711"/>
            <a:ext cx="2925632"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90C6847B-4FE5-4AEA-B37A-C3D9FE3A7FBA}"/>
              </a:ext>
            </a:extLst>
          </p:cNvPr>
          <p:cNvSpPr/>
          <p:nvPr/>
        </p:nvSpPr>
        <p:spPr>
          <a:xfrm>
            <a:off x="7311506" y="3388039"/>
            <a:ext cx="1860830"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Right click</a:t>
            </a:r>
          </a:p>
        </p:txBody>
      </p:sp>
      <p:cxnSp>
        <p:nvCxnSpPr>
          <p:cNvPr id="19" name="Straight Arrow Connector 18">
            <a:extLst>
              <a:ext uri="{FF2B5EF4-FFF2-40B4-BE49-F238E27FC236}">
                <a16:creationId xmlns:a16="http://schemas.microsoft.com/office/drawing/2014/main" id="{991781F6-BE06-4449-BD1D-E9AA794A2A30}"/>
              </a:ext>
            </a:extLst>
          </p:cNvPr>
          <p:cNvCxnSpPr>
            <a:cxnSpLocks/>
            <a:stCxn id="18" idx="3"/>
            <a:endCxn id="7" idx="1"/>
          </p:cNvCxnSpPr>
          <p:nvPr/>
        </p:nvCxnSpPr>
        <p:spPr>
          <a:xfrm>
            <a:off x="9172336" y="3680427"/>
            <a:ext cx="1362314" cy="8727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543591"/>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53FFAF0-3DB5-4B0B-A0EE-C149862A7D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ABDDFE69-86E0-4AE2-B166-4D067A34CC07}"/>
              </a:ext>
            </a:extLst>
          </p:cNvPr>
          <p:cNvSpPr/>
          <p:nvPr/>
        </p:nvSpPr>
        <p:spPr>
          <a:xfrm>
            <a:off x="9620250" y="3683000"/>
            <a:ext cx="1276219" cy="1104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01008"/>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B143A0-DEEE-46EC-B7F0-3CEC3EB8E8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D997212-98DF-4CF0-966A-AAE1A9AF3884}"/>
              </a:ext>
            </a:extLst>
          </p:cNvPr>
          <p:cNvSpPr/>
          <p:nvPr/>
        </p:nvSpPr>
        <p:spPr>
          <a:xfrm>
            <a:off x="9620250" y="3657600"/>
            <a:ext cx="1276219" cy="24892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17051529"/>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5D3000-5D1D-4346-A5AA-4AD010D1BC8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0DCD592-0F66-4528-9F03-522B49E1D00D}"/>
              </a:ext>
            </a:extLst>
          </p:cNvPr>
          <p:cNvSpPr/>
          <p:nvPr/>
        </p:nvSpPr>
        <p:spPr>
          <a:xfrm>
            <a:off x="2470150" y="685800"/>
            <a:ext cx="3346450" cy="889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3ABFA2F-64B3-43CC-B658-2F5E603F3E9C}"/>
              </a:ext>
            </a:extLst>
          </p:cNvPr>
          <p:cNvSpPr/>
          <p:nvPr/>
        </p:nvSpPr>
        <p:spPr>
          <a:xfrm>
            <a:off x="9620250" y="2501900"/>
            <a:ext cx="1276219" cy="787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700393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8865" y="2646655"/>
            <a:ext cx="1293982" cy="1564689"/>
          </a:xfrm>
          <a:prstGeom prst="rect">
            <a:avLst/>
          </a:prstGeom>
        </p:spPr>
      </p:pic>
      <p:pic>
        <p:nvPicPr>
          <p:cNvPr id="10" name="Picture 9" descr="A close up of a logo&#10;&#10;Description generated with very high confidence">
            <a:hlinkClick r:id="rId5"/>
            <a:extLst>
              <a:ext uri="{FF2B5EF4-FFF2-40B4-BE49-F238E27FC236}">
                <a16:creationId xmlns:a16="http://schemas.microsoft.com/office/drawing/2014/main" id="{D4FAF08A-314C-4755-89DE-AFAB70D2539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254228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0769B789-7E75-473B-9C0C-8B15122FE42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3295245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58BAFD-8561-47BA-94CE-F7EE6A9C1FB6}"/>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A54393FF-E6C6-4BD8-BEC1-5D9C4BFC1335}"/>
              </a:ext>
            </a:extLst>
          </p:cNvPr>
          <p:cNvSpPr/>
          <p:nvPr/>
        </p:nvSpPr>
        <p:spPr>
          <a:xfrm>
            <a:off x="539750" y="3429000"/>
            <a:ext cx="1830070" cy="13487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3496956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0FF91C-3217-4A94-82EA-F89B59AE73C4}"/>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5" name="Straight Arrow Connector 14">
            <a:extLst>
              <a:ext uri="{FF2B5EF4-FFF2-40B4-BE49-F238E27FC236}">
                <a16:creationId xmlns:a16="http://schemas.microsoft.com/office/drawing/2014/main" id="{B98CD473-0CFF-443B-8285-194F4DEB30AF}"/>
              </a:ext>
            </a:extLst>
          </p:cNvPr>
          <p:cNvCxnSpPr>
            <a:cxnSpLocks/>
          </p:cNvCxnSpPr>
          <p:nvPr/>
        </p:nvCxnSpPr>
        <p:spPr>
          <a:xfrm>
            <a:off x="1013460" y="4091940"/>
            <a:ext cx="1227296" cy="90392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1928869"/>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BD50093-87B7-4470-A80D-A0105975DB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36CB2D3B-F7D1-4CD1-A4BB-C2305A7A91AE}"/>
              </a:ext>
            </a:extLst>
          </p:cNvPr>
          <p:cNvSpPr/>
          <p:nvPr/>
        </p:nvSpPr>
        <p:spPr>
          <a:xfrm>
            <a:off x="5748162" y="3181350"/>
            <a:ext cx="3472038" cy="19192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5B2E6F0A-D8B5-4296-8E53-6E38F647E8D7}"/>
              </a:ext>
            </a:extLst>
          </p:cNvPr>
          <p:cNvCxnSpPr>
            <a:cxnSpLocks/>
          </p:cNvCxnSpPr>
          <p:nvPr/>
        </p:nvCxnSpPr>
        <p:spPr>
          <a:xfrm flipV="1">
            <a:off x="7172325" y="3690938"/>
            <a:ext cx="1776413" cy="147637"/>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3413325"/>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AB2133-126A-4514-A004-E7EE07FD7AA7}"/>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F235D7B2-3BEA-4FC3-B980-8511EC57D7FF}"/>
              </a:ext>
            </a:extLst>
          </p:cNvPr>
          <p:cNvCxnSpPr>
            <a:cxnSpLocks/>
          </p:cNvCxnSpPr>
          <p:nvPr/>
        </p:nvCxnSpPr>
        <p:spPr>
          <a:xfrm flipV="1">
            <a:off x="8367212" y="469292"/>
            <a:ext cx="926926" cy="38830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0116D4F-4E22-46A3-95D8-A29D2421559B}"/>
              </a:ext>
            </a:extLst>
          </p:cNvPr>
          <p:cNvCxnSpPr>
            <a:cxnSpLocks/>
          </p:cNvCxnSpPr>
          <p:nvPr/>
        </p:nvCxnSpPr>
        <p:spPr>
          <a:xfrm flipH="1">
            <a:off x="804863" y="469292"/>
            <a:ext cx="1128713"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4C2AFC54-7C45-4D9D-831D-D31C37D3D7A2}"/>
              </a:ext>
            </a:extLst>
          </p:cNvPr>
          <p:cNvSpPr/>
          <p:nvPr/>
        </p:nvSpPr>
        <p:spPr>
          <a:xfrm>
            <a:off x="9661525" y="2219326"/>
            <a:ext cx="1203325"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40210594"/>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31A2C0-2AB5-4718-BF03-E93911F902A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4" name="Straight Arrow Connector 13">
            <a:extLst>
              <a:ext uri="{FF2B5EF4-FFF2-40B4-BE49-F238E27FC236}">
                <a16:creationId xmlns:a16="http://schemas.microsoft.com/office/drawing/2014/main" id="{1244DDAE-E62D-4D44-85EF-D38DDED15AE8}"/>
              </a:ext>
            </a:extLst>
          </p:cNvPr>
          <p:cNvCxnSpPr>
            <a:cxnSpLocks/>
          </p:cNvCxnSpPr>
          <p:nvPr/>
        </p:nvCxnSpPr>
        <p:spPr>
          <a:xfrm flipH="1">
            <a:off x="2924176" y="5743575"/>
            <a:ext cx="342899" cy="73705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057653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67D685-D7EE-40A8-A382-C1F37C2D53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260EB4AF-8F39-495C-B079-9E78CBCD46AB}"/>
              </a:ext>
            </a:extLst>
          </p:cNvPr>
          <p:cNvSpPr/>
          <p:nvPr/>
        </p:nvSpPr>
        <p:spPr>
          <a:xfrm>
            <a:off x="254000" y="508000"/>
            <a:ext cx="520700" cy="2508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2E6FE5AD-8F4B-4C68-84DE-F6296B722A66}"/>
              </a:ext>
            </a:extLst>
          </p:cNvPr>
          <p:cNvSpPr/>
          <p:nvPr/>
        </p:nvSpPr>
        <p:spPr>
          <a:xfrm>
            <a:off x="8885238" y="1266825"/>
            <a:ext cx="563562" cy="542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75939535"/>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CCBDF6-A297-4E55-886F-08F70B5AB862}"/>
              </a:ext>
            </a:extLst>
          </p:cNvPr>
          <p:cNvPicPr>
            <a:picLocks noChangeAspect="1"/>
          </p:cNvPicPr>
          <p:nvPr/>
        </p:nvPicPr>
        <p:blipFill>
          <a:blip r:embed="rId3"/>
          <a:stretch>
            <a:fillRect/>
          </a:stretch>
        </p:blipFill>
        <p:spPr>
          <a:xfrm>
            <a:off x="7055" y="0"/>
            <a:ext cx="12177889"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83291641"/>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5FB2C4-CACB-4E76-952C-63A87DB8CA1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C58C7806-290C-4CB3-8833-5D347E71EF2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68DA789-D9B1-4161-90BF-33BC771CCB3E}"/>
              </a:ext>
            </a:extLst>
          </p:cNvPr>
          <p:cNvSpPr/>
          <p:nvPr/>
        </p:nvSpPr>
        <p:spPr>
          <a:xfrm>
            <a:off x="1652428" y="698886"/>
            <a:ext cx="65897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F2F776A-08CB-41BB-93A1-EA83BA0681F3}"/>
              </a:ext>
            </a:extLst>
          </p:cNvPr>
          <p:cNvSpPr/>
          <p:nvPr/>
        </p:nvSpPr>
        <p:spPr>
          <a:xfrm>
            <a:off x="8374061" y="1026318"/>
            <a:ext cx="1293813" cy="16597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44092149"/>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721326F-885F-4605-AA32-4A2EF3771B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98969963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CC8C89-00A3-424D-8EC2-5A9A7403FC8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E95B0C8C-6598-4E9C-A678-F7AD60633A4F}"/>
              </a:ext>
            </a:extLst>
          </p:cNvPr>
          <p:cNvSpPr/>
          <p:nvPr/>
        </p:nvSpPr>
        <p:spPr>
          <a:xfrm>
            <a:off x="490537" y="3381375"/>
            <a:ext cx="563564" cy="206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139701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CA5BD6-47D7-419A-BE0F-A2491C50B94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2149466"/>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5E2321F-EAC5-48F2-9C35-2E169EF79C6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AB80EEA8-CCF5-49E1-951D-420AE41F1992}"/>
              </a:ext>
            </a:extLst>
          </p:cNvPr>
          <p:cNvSpPr/>
          <p:nvPr/>
        </p:nvSpPr>
        <p:spPr>
          <a:xfrm>
            <a:off x="10906126" y="1094581"/>
            <a:ext cx="790574" cy="10294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341A8673-5CA0-4918-8766-775184FF57D5}"/>
              </a:ext>
            </a:extLst>
          </p:cNvPr>
          <p:cNvCxnSpPr>
            <a:cxnSpLocks/>
          </p:cNvCxnSpPr>
          <p:nvPr/>
        </p:nvCxnSpPr>
        <p:spPr>
          <a:xfrm flipH="1">
            <a:off x="7673340" y="2197100"/>
            <a:ext cx="2246948" cy="113284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8609411"/>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699D4-4D1E-45BF-BDFE-C3949F93E7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0F851FC-F3FF-4276-9C2C-91D0BE12577D}"/>
              </a:ext>
            </a:extLst>
          </p:cNvPr>
          <p:cNvSpPr/>
          <p:nvPr/>
        </p:nvSpPr>
        <p:spPr>
          <a:xfrm>
            <a:off x="10906126" y="1718387"/>
            <a:ext cx="790574" cy="4056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47589916"/>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FFCBDF-D36F-4D36-81E2-AC6FFF3051D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35F75768-A86D-44F5-8D01-AC3346B88AF5}"/>
              </a:ext>
            </a:extLst>
          </p:cNvPr>
          <p:cNvCxnSpPr>
            <a:cxnSpLocks/>
          </p:cNvCxnSpPr>
          <p:nvPr/>
        </p:nvCxnSpPr>
        <p:spPr>
          <a:xfrm>
            <a:off x="9267825" y="2133600"/>
            <a:ext cx="0" cy="10795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B65F92B-FF59-446D-805E-EA1E3F33BE09}"/>
              </a:ext>
            </a:extLst>
          </p:cNvPr>
          <p:cNvSpPr/>
          <p:nvPr/>
        </p:nvSpPr>
        <p:spPr>
          <a:xfrm>
            <a:off x="8094664" y="3524250"/>
            <a:ext cx="790574" cy="2190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63604957"/>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3DDFF5-3DAC-48D2-A7ED-7F1EE5D0B33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840271371"/>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00257C2-33BF-47E2-8C0B-8D96CECC3B7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EAC9117-B268-4337-A196-7E7CB7AA412E}"/>
              </a:ext>
            </a:extLst>
          </p:cNvPr>
          <p:cNvSpPr/>
          <p:nvPr/>
        </p:nvSpPr>
        <p:spPr>
          <a:xfrm>
            <a:off x="423862" y="3481387"/>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370654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0F498F-391D-4C2B-9064-C79BE94B86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14801678"/>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F4E1483-3CAD-4E3A-A891-A671FCC8E298}"/>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430952529"/>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51BAE9-4B49-4167-A59C-36BF9B867809}"/>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76095543"/>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95F527-3D9F-403C-9899-B16A836EA29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572C370-6099-423F-8D5F-4EB2192981AD}"/>
              </a:ext>
            </a:extLst>
          </p:cNvPr>
          <p:cNvSpPr/>
          <p:nvPr/>
        </p:nvSpPr>
        <p:spPr>
          <a:xfrm>
            <a:off x="9638506" y="2395538"/>
            <a:ext cx="1259138" cy="33337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0814197"/>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F6D361-395E-4009-AD28-1B7F6FADFCB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7A9BDED-ECFD-4D53-9AF2-2278BF1A3A47}"/>
              </a:ext>
            </a:extLst>
          </p:cNvPr>
          <p:cNvSpPr/>
          <p:nvPr/>
        </p:nvSpPr>
        <p:spPr>
          <a:xfrm>
            <a:off x="423862" y="5172401"/>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193312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839D675-782E-4679-B606-200E78B93E76}"/>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60474804"/>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3F62DD-D10B-4FD2-9B51-AE4BE05710F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DE469586-8F46-4D05-939F-A77702968F67}"/>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73F40131-EDFC-4A6B-ADAA-D3C602BF8C73}"/>
              </a:ext>
            </a:extLst>
          </p:cNvPr>
          <p:cNvCxnSpPr>
            <a:cxnSpLocks/>
          </p:cNvCxnSpPr>
          <p:nvPr/>
        </p:nvCxnSpPr>
        <p:spPr>
          <a:xfrm flipH="1">
            <a:off x="7200900" y="2217107"/>
            <a:ext cx="3070442" cy="121189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13844"/>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7681A6A-96B9-490E-86C0-D3358D3AF5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9DC4BF5-35A9-42C2-9C00-31A358B5D386}"/>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37211567"/>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A8F5DF-6FF2-48F2-9F67-33A1E03FE6B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74F04C0-133B-4AF6-A0DF-ADE0D8F66340}"/>
              </a:ext>
            </a:extLst>
          </p:cNvPr>
          <p:cNvSpPr/>
          <p:nvPr/>
        </p:nvSpPr>
        <p:spPr>
          <a:xfrm>
            <a:off x="10906126" y="2671762"/>
            <a:ext cx="1216024" cy="3667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A69EB00-FC96-46DA-86CF-ADA50D03AFD5}"/>
              </a:ext>
            </a:extLst>
          </p:cNvPr>
          <p:cNvSpPr/>
          <p:nvPr/>
        </p:nvSpPr>
        <p:spPr>
          <a:xfrm>
            <a:off x="10560844" y="4162425"/>
            <a:ext cx="209550" cy="2024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6000959"/>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21B8AD-2224-4321-BECA-69E0EFAA55E7}"/>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44C823D2-31FC-4888-BA89-3CDF1221A6A8}"/>
              </a:ext>
            </a:extLst>
          </p:cNvPr>
          <p:cNvSpPr/>
          <p:nvPr/>
        </p:nvSpPr>
        <p:spPr>
          <a:xfrm>
            <a:off x="9242426" y="2170112"/>
            <a:ext cx="2613024"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1258867"/>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EBA0F1F-F1D9-4E45-9366-FBA0C5FB501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740F1D-1249-4545-B40F-2E3C90573875}"/>
              </a:ext>
            </a:extLst>
          </p:cNvPr>
          <p:cNvSpPr/>
          <p:nvPr/>
        </p:nvSpPr>
        <p:spPr>
          <a:xfrm>
            <a:off x="2826001" y="3488031"/>
            <a:ext cx="645862"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BF579E7-D3FF-4764-8CEF-B048E83E439B}"/>
              </a:ext>
            </a:extLst>
          </p:cNvPr>
          <p:cNvSpPr/>
          <p:nvPr/>
        </p:nvSpPr>
        <p:spPr>
          <a:xfrm>
            <a:off x="2820335" y="2066901"/>
            <a:ext cx="2060324" cy="53913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Arrow Connector 15">
            <a:extLst>
              <a:ext uri="{FF2B5EF4-FFF2-40B4-BE49-F238E27FC236}">
                <a16:creationId xmlns:a16="http://schemas.microsoft.com/office/drawing/2014/main" id="{7CCEB59A-5011-4681-95B3-AE4657031B91}"/>
              </a:ext>
            </a:extLst>
          </p:cNvPr>
          <p:cNvCxnSpPr>
            <a:cxnSpLocks/>
            <a:stCxn id="13" idx="0"/>
          </p:cNvCxnSpPr>
          <p:nvPr/>
        </p:nvCxnSpPr>
        <p:spPr>
          <a:xfrm flipV="1">
            <a:off x="3148932" y="2809875"/>
            <a:ext cx="1880268" cy="67815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6CA0D75-29F3-4D1F-8542-7D631A19F0C8}"/>
              </a:ext>
            </a:extLst>
          </p:cNvPr>
          <p:cNvSpPr/>
          <p:nvPr/>
        </p:nvSpPr>
        <p:spPr>
          <a:xfrm>
            <a:off x="8207374" y="5519736"/>
            <a:ext cx="393701"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7801367"/>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FCAC621-90C9-4F0B-A862-E39E2371AC0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27CC4F5-77D3-42DA-978C-D6B70D878B82}"/>
              </a:ext>
            </a:extLst>
          </p:cNvPr>
          <p:cNvSpPr/>
          <p:nvPr/>
        </p:nvSpPr>
        <p:spPr>
          <a:xfrm>
            <a:off x="9632514" y="3695284"/>
            <a:ext cx="1223059" cy="75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8285901"/>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346867-0F20-42FB-8495-BC5D6E851F5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CD151E9-B86B-4605-B25D-83759F1DF418}"/>
              </a:ext>
            </a:extLst>
          </p:cNvPr>
          <p:cNvSpPr/>
          <p:nvPr/>
        </p:nvSpPr>
        <p:spPr>
          <a:xfrm>
            <a:off x="8093900" y="2619375"/>
            <a:ext cx="1223059" cy="381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13A0330-0000-4DD9-9C80-F5BF5CD0DB51}"/>
              </a:ext>
            </a:extLst>
          </p:cNvPr>
          <p:cNvSpPr/>
          <p:nvPr/>
        </p:nvSpPr>
        <p:spPr>
          <a:xfrm>
            <a:off x="467637" y="3429000"/>
            <a:ext cx="4218663" cy="317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A9FF778C-67DD-4BB6-A8F4-3B41FD3AA660}"/>
              </a:ext>
            </a:extLst>
          </p:cNvPr>
          <p:cNvSpPr/>
          <p:nvPr/>
        </p:nvSpPr>
        <p:spPr>
          <a:xfrm>
            <a:off x="4965700" y="3746499"/>
            <a:ext cx="1987550"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232913"/>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42DBCFB-66C3-46AB-A29C-DD962A0F9B0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0A049009-17EE-477F-93A9-385D2A3EB236}"/>
              </a:ext>
            </a:extLst>
          </p:cNvPr>
          <p:cNvSpPr/>
          <p:nvPr/>
        </p:nvSpPr>
        <p:spPr>
          <a:xfrm>
            <a:off x="4918074" y="4384674"/>
            <a:ext cx="2378075"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6641452D-DBAE-44B2-BCED-3DEEE07F05B4}"/>
              </a:ext>
            </a:extLst>
          </p:cNvPr>
          <p:cNvSpPr/>
          <p:nvPr/>
        </p:nvSpPr>
        <p:spPr>
          <a:xfrm>
            <a:off x="5251449"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87781645"/>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305EB5-F882-4CAC-9CA0-9AA0C11C489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310F8BCD-DB4B-42E3-8B91-A43CF97C80E2}"/>
              </a:ext>
            </a:extLst>
          </p:cNvPr>
          <p:cNvCxnSpPr>
            <a:cxnSpLocks/>
          </p:cNvCxnSpPr>
          <p:nvPr/>
        </p:nvCxnSpPr>
        <p:spPr>
          <a:xfrm flipH="1">
            <a:off x="7383780" y="1869281"/>
            <a:ext cx="2512695" cy="1712119"/>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8251756"/>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713B5DF-A4CE-4CF8-BE88-3F835B610F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980573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8EE2C9-3794-4D4F-A469-E6B6C70E3907}"/>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55375308"/>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259F45-EE8F-40E9-908A-B69D4C0EDC1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35749020"/>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F790302-C370-4A73-A1DD-B80973202176}"/>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44799961"/>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732549-92E7-4840-85A3-39102550FE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9ADF422-37F7-48B1-A2E6-299F9DEB578B}"/>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138898B-C11A-42E4-BFFE-C71C655BC557}"/>
              </a:ext>
            </a:extLst>
          </p:cNvPr>
          <p:cNvSpPr/>
          <p:nvPr/>
        </p:nvSpPr>
        <p:spPr>
          <a:xfrm>
            <a:off x="9277349" y="3595687"/>
            <a:ext cx="1533525" cy="24765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1883752"/>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E1E780-C448-4004-8C93-EA5C4746DD0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ED49099-4560-4A7D-9327-27FAE8ADAADF}"/>
              </a:ext>
            </a:extLst>
          </p:cNvPr>
          <p:cNvSpPr/>
          <p:nvPr/>
        </p:nvSpPr>
        <p:spPr>
          <a:xfrm>
            <a:off x="3036660" y="3542846"/>
            <a:ext cx="998311" cy="4050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6618599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A0CE7C-AA98-4771-9EE9-C8CC8F7DFED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9D2ACA0-705E-48AB-BBAC-D3D322237A78}"/>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9772990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8FC0BD8-692A-4199-8CE6-9845F29CB6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B8095A-47A5-4FEF-A0C5-B1F00F042113}"/>
              </a:ext>
            </a:extLst>
          </p:cNvPr>
          <p:cNvSpPr/>
          <p:nvPr/>
        </p:nvSpPr>
        <p:spPr>
          <a:xfrm>
            <a:off x="8508206" y="3289979"/>
            <a:ext cx="515144" cy="2406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Oval 2">
            <a:extLst>
              <a:ext uri="{FF2B5EF4-FFF2-40B4-BE49-F238E27FC236}">
                <a16:creationId xmlns:a16="http://schemas.microsoft.com/office/drawing/2014/main" id="{862B9EB1-09FB-4D89-BE5B-6FD6788197FE}"/>
              </a:ext>
            </a:extLst>
          </p:cNvPr>
          <p:cNvSpPr/>
          <p:nvPr/>
        </p:nvSpPr>
        <p:spPr>
          <a:xfrm>
            <a:off x="8070056" y="4699000"/>
            <a:ext cx="876300" cy="806705"/>
          </a:xfrm>
          <a:prstGeom prst="ellipse">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6BD50A1-57B4-434F-9F6C-6E4372CAD71B}"/>
              </a:ext>
            </a:extLst>
          </p:cNvPr>
          <p:cNvSpPr/>
          <p:nvPr/>
        </p:nvSpPr>
        <p:spPr>
          <a:xfrm>
            <a:off x="488155" y="3429000"/>
            <a:ext cx="2588419"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74284085"/>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3B712C-190E-47C6-A7BF-0F9DC90A3B4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5" name="Rectangle 14">
            <a:extLst>
              <a:ext uri="{FF2B5EF4-FFF2-40B4-BE49-F238E27FC236}">
                <a16:creationId xmlns:a16="http://schemas.microsoft.com/office/drawing/2014/main" id="{5A958EC5-EFE5-4EEC-B5BD-5DF781BBC3AB}"/>
              </a:ext>
            </a:extLst>
          </p:cNvPr>
          <p:cNvSpPr/>
          <p:nvPr/>
        </p:nvSpPr>
        <p:spPr>
          <a:xfrm>
            <a:off x="2990850" y="3000375"/>
            <a:ext cx="219075" cy="21431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0A6D81BE-5093-4457-902A-B56C9F2C4A9F}"/>
              </a:ext>
            </a:extLst>
          </p:cNvPr>
          <p:cNvSpPr/>
          <p:nvPr/>
        </p:nvSpPr>
        <p:spPr>
          <a:xfrm>
            <a:off x="2598736" y="3429000"/>
            <a:ext cx="2354264" cy="51911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05900320"/>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Slicer Between</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Bookmar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nalytic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Mobile</a:t>
            </a: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914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525DD7-6CF0-40F2-883E-DC5A57E2DC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6EF55E1-2C2E-4DFB-B8FB-0C45DCB3FD96}"/>
              </a:ext>
            </a:extLst>
          </p:cNvPr>
          <p:cNvSpPr/>
          <p:nvPr/>
        </p:nvSpPr>
        <p:spPr>
          <a:xfrm>
            <a:off x="516741" y="4502976"/>
            <a:ext cx="1149221" cy="13091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11322048"/>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A3D9234-8B29-4749-86FA-1D56FA0FD23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1652428" y="402024"/>
            <a:ext cx="833597"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263518B7-0936-4709-BFFC-026C83BB5834}"/>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942349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logo&#10;&#10;Description generated with very high confidence">
            <a:hlinkClick r:id="rId5"/>
            <a:extLst>
              <a:ext uri="{FF2B5EF4-FFF2-40B4-BE49-F238E27FC236}">
                <a16:creationId xmlns:a16="http://schemas.microsoft.com/office/drawing/2014/main" id="{29EA8535-848D-41F1-844E-BA6FA3A8CE2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3798299"/>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8C481-42B8-4295-A659-28D48FAEDBF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49650254"/>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C6B472-081B-4761-9D1F-A2F374AC3B4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13849012"/>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D7CF2E-B931-45A6-8B9D-2E33A073772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15040169"/>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B219A5-946A-4A24-879E-5E1EDA17CE8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34284583"/>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24193E0-22FB-4359-A1E9-18C5E7C0F6F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BC2454-79F5-42B0-AFA7-49CB33DD7647}"/>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ED362610-8120-4608-B1DF-13D2F523F714}"/>
              </a:ext>
            </a:extLst>
          </p:cNvPr>
          <p:cNvSpPr/>
          <p:nvPr/>
        </p:nvSpPr>
        <p:spPr>
          <a:xfrm>
            <a:off x="8374061" y="462477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3350553"/>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84F9AE8-456E-4DA0-9B24-8035A1F3CEC4}"/>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3548F2-8240-45B0-9713-CAB77EE006B4}"/>
              </a:ext>
            </a:extLst>
          </p:cNvPr>
          <p:cNvSpPr/>
          <p:nvPr/>
        </p:nvSpPr>
        <p:spPr>
          <a:xfrm>
            <a:off x="8374061" y="480003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054337"/>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DAD7F1-370D-4E59-8B9D-C111F278EF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D1C51525-7914-49C9-94DD-B1C633C786D2}"/>
              </a:ext>
            </a:extLst>
          </p:cNvPr>
          <p:cNvSpPr/>
          <p:nvPr/>
        </p:nvSpPr>
        <p:spPr>
          <a:xfrm>
            <a:off x="8058546" y="2609850"/>
            <a:ext cx="943769" cy="11239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64663D8C-7CCD-4C39-BCB9-2E451FFBAEAB}"/>
              </a:ext>
            </a:extLst>
          </p:cNvPr>
          <p:cNvSpPr/>
          <p:nvPr/>
        </p:nvSpPr>
        <p:spPr>
          <a:xfrm>
            <a:off x="9002314" y="3929063"/>
            <a:ext cx="2288332" cy="190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41120924"/>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B67085-84B8-41FA-9B3D-9BDE1D02C86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9958180"/>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A1E456-BB35-4D19-9585-F91276CFD49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2746A4E-E9EA-4F27-B5A6-0A6C9370CA08}"/>
              </a:ext>
            </a:extLst>
          </p:cNvPr>
          <p:cNvSpPr/>
          <p:nvPr/>
        </p:nvSpPr>
        <p:spPr>
          <a:xfrm>
            <a:off x="6299200" y="1879600"/>
            <a:ext cx="3621088" cy="2095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093EB0D8-113B-4B9E-8219-BA09D10ED95F}"/>
              </a:ext>
            </a:extLst>
          </p:cNvPr>
          <p:cNvSpPr/>
          <p:nvPr/>
        </p:nvSpPr>
        <p:spPr>
          <a:xfrm>
            <a:off x="10642600" y="2387600"/>
            <a:ext cx="1284288" cy="24325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24945854"/>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ECA639-D8A5-4E99-8839-3F11E243A43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60911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pic>
        <p:nvPicPr>
          <p:cNvPr id="15" name="Picture 14" descr="A close up of a logo&#10;&#10;Description generated with very high confidence">
            <a:hlinkClick r:id="rId5"/>
            <a:extLst>
              <a:ext uri="{FF2B5EF4-FFF2-40B4-BE49-F238E27FC236}">
                <a16:creationId xmlns:a16="http://schemas.microsoft.com/office/drawing/2014/main" id="{2F932585-39E9-4F5F-A2D7-E44DD956E3D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8381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23F6169-C31F-4692-9AB0-2D8FEED76746}"/>
              </a:ext>
            </a:extLst>
          </p:cNvPr>
          <p:cNvGrpSpPr/>
          <p:nvPr/>
        </p:nvGrpSpPr>
        <p:grpSpPr>
          <a:xfrm>
            <a:off x="0" y="1983"/>
            <a:ext cx="12192000" cy="6854034"/>
            <a:chOff x="0" y="1983"/>
            <a:chExt cx="12192000" cy="6854034"/>
          </a:xfrm>
        </p:grpSpPr>
        <p:pic>
          <p:nvPicPr>
            <p:cNvPr id="4" name="Picture 3">
              <a:extLst>
                <a:ext uri="{FF2B5EF4-FFF2-40B4-BE49-F238E27FC236}">
                  <a16:creationId xmlns:a16="http://schemas.microsoft.com/office/drawing/2014/main" id="{40260C7F-8775-4A43-A7AE-F20F914B86DD}"/>
                </a:ext>
              </a:extLst>
            </p:cNvPr>
            <p:cNvPicPr>
              <a:picLocks noChangeAspect="1"/>
            </p:cNvPicPr>
            <p:nvPr/>
          </p:nvPicPr>
          <p:blipFill>
            <a:blip r:embed="rId3"/>
            <a:stretch>
              <a:fillRect/>
            </a:stretch>
          </p:blipFill>
          <p:spPr>
            <a:xfrm>
              <a:off x="0" y="1983"/>
              <a:ext cx="12192000" cy="6854034"/>
            </a:xfrm>
            <a:prstGeom prst="rect">
              <a:avLst/>
            </a:prstGeom>
          </p:spPr>
        </p:pic>
        <p:pic>
          <p:nvPicPr>
            <p:cNvPr id="13" name="Picture 12">
              <a:extLst>
                <a:ext uri="{FF2B5EF4-FFF2-40B4-BE49-F238E27FC236}">
                  <a16:creationId xmlns:a16="http://schemas.microsoft.com/office/drawing/2014/main" id="{73278C1B-243D-4125-BBEF-487DD072B8EA}"/>
                </a:ext>
              </a:extLst>
            </p:cNvPr>
            <p:cNvPicPr>
              <a:picLocks noChangeAspect="1"/>
            </p:cNvPicPr>
            <p:nvPr/>
          </p:nvPicPr>
          <p:blipFill rotWithShape="1">
            <a:blip r:embed="rId4"/>
            <a:srcRect b="85251"/>
            <a:stretch/>
          </p:blipFill>
          <p:spPr>
            <a:xfrm>
              <a:off x="0" y="1983"/>
              <a:ext cx="12192000" cy="1010918"/>
            </a:xfrm>
            <a:prstGeom prst="rect">
              <a:avLst/>
            </a:prstGeom>
          </p:spPr>
        </p:pic>
      </p:grpSp>
      <p:sp>
        <p:nvSpPr>
          <p:cNvPr id="12" name="Rectangle 11">
            <a:hlinkClick r:id="rId5"/>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9E7FF445-990B-4C60-9E0D-AC228731707A}"/>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2330847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DFE225-459B-4D50-BD17-10DDE741FD08}"/>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3859AC-4789-4D92-AC33-467F8FF91E37}"/>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62F04FBC-7393-4578-B7D1-0FD77F0112B6}"/>
              </a:ext>
            </a:extLst>
          </p:cNvPr>
          <p:cNvSpPr/>
          <p:nvPr/>
        </p:nvSpPr>
        <p:spPr>
          <a:xfrm>
            <a:off x="9606626" y="1009688"/>
            <a:ext cx="258537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4369711C-F488-4841-92D3-A88418C2E85E}"/>
              </a:ext>
            </a:extLst>
          </p:cNvPr>
          <p:cNvSpPr/>
          <p:nvPr/>
        </p:nvSpPr>
        <p:spPr>
          <a:xfrm>
            <a:off x="3751579" y="1679575"/>
            <a:ext cx="2449195" cy="41211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42243438"/>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9A590C-F7DD-40E1-9666-F6FB6BB5B51D}"/>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7584D68-F701-4068-A5E4-4BC611EA5E0E}"/>
              </a:ext>
            </a:extLst>
          </p:cNvPr>
          <p:cNvSpPr/>
          <p:nvPr/>
        </p:nvSpPr>
        <p:spPr>
          <a:xfrm>
            <a:off x="7615396" y="365302"/>
            <a:ext cx="1684020" cy="119044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71382205"/>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re-lab: </a:t>
            </a:r>
            <a:r>
              <a:rPr lang="en-US" sz="2000" kern="0" dirty="0">
                <a:solidFill>
                  <a:srgbClr val="F2C812"/>
                </a:solidFill>
              </a:rPr>
              <a:t>goo.gl/e1r2iq</a:t>
            </a: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Get Data: </a:t>
            </a:r>
            <a:r>
              <a:rPr lang="en-US" sz="2000" kern="0" dirty="0">
                <a:solidFill>
                  <a:srgbClr val="F2C812"/>
                </a:solidFill>
              </a:rPr>
              <a:t>goo.gl/</a:t>
            </a:r>
            <a:r>
              <a:rPr lang="en-US" sz="2000" kern="0" dirty="0" err="1">
                <a:solidFill>
                  <a:srgbClr val="F2C812"/>
                </a:solidFill>
              </a:rPr>
              <a:t>GiuiM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Data Prep: </a:t>
            </a:r>
            <a:r>
              <a:rPr lang="en-US" sz="2000" kern="0" dirty="0">
                <a:solidFill>
                  <a:srgbClr val="F2C812"/>
                </a:solidFill>
              </a:rPr>
              <a:t>goo.gl/</a:t>
            </a:r>
            <a:r>
              <a:rPr lang="en-US" sz="2000" kern="0" dirty="0" err="1">
                <a:solidFill>
                  <a:srgbClr val="F2C812"/>
                </a:solidFill>
              </a:rPr>
              <a:t>UjmsL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Model and Explore: </a:t>
            </a:r>
            <a:r>
              <a:rPr lang="en-US" sz="2000" kern="0" dirty="0">
                <a:solidFill>
                  <a:srgbClr val="F2C812"/>
                </a:solidFill>
              </a:rPr>
              <a:t>goo.gl/</a:t>
            </a:r>
            <a:r>
              <a:rPr lang="en-US" sz="2000" kern="0" dirty="0" err="1">
                <a:solidFill>
                  <a:srgbClr val="F2C812"/>
                </a:solidFill>
              </a:rPr>
              <a:t>mpCUSC</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Visualizations: </a:t>
            </a:r>
            <a:r>
              <a:rPr lang="en-US" sz="2000" kern="0" dirty="0">
                <a:solidFill>
                  <a:srgbClr val="F2C812"/>
                </a:solidFill>
              </a:rPr>
              <a:t>goo.gl/</a:t>
            </a:r>
            <a:r>
              <a:rPr lang="en-US" sz="2000" kern="0" dirty="0" err="1">
                <a:solidFill>
                  <a:srgbClr val="F2C812"/>
                </a:solidFill>
              </a:rPr>
              <a:t>qEbruw</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ower BI Service: </a:t>
            </a:r>
            <a:r>
              <a:rPr lang="en-US" sz="2000" kern="0" dirty="0">
                <a:solidFill>
                  <a:srgbClr val="F2C812"/>
                </a:solidFill>
              </a:rPr>
              <a:t>goo.gl/2b9HYH</a:t>
            </a:r>
          </a:p>
        </p:txBody>
      </p:sp>
    </p:spTree>
    <p:extLst>
      <p:ext uri="{BB962C8B-B14F-4D97-AF65-F5344CB8AC3E}">
        <p14:creationId xmlns:p14="http://schemas.microsoft.com/office/powerpoint/2010/main" val="1882212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2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82DC9C1-11AD-424A-9F4E-27D63BED2A92}"/>
              </a:ext>
            </a:extLst>
          </p:cNvPr>
          <p:cNvPicPr>
            <a:picLocks noChangeAspect="1"/>
          </p:cNvPicPr>
          <p:nvPr/>
        </p:nvPicPr>
        <p:blipFill rotWithShape="1">
          <a:blip r:embed="rId3"/>
          <a:srcRect l="6927" r="6944"/>
          <a:stretch/>
        </p:blipFill>
        <p:spPr>
          <a:xfrm>
            <a:off x="5017487" y="857250"/>
            <a:ext cx="7684101" cy="48101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pic>
        <p:nvPicPr>
          <p:cNvPr id="4" name="Picture 3">
            <a:extLst>
              <a:ext uri="{FF2B5EF4-FFF2-40B4-BE49-F238E27FC236}">
                <a16:creationId xmlns:a16="http://schemas.microsoft.com/office/drawing/2014/main" id="{710BB284-5689-485E-AEE0-62D5FAEF86B2}"/>
              </a:ext>
            </a:extLst>
          </p:cNvPr>
          <p:cNvPicPr>
            <a:picLocks noChangeAspect="1"/>
          </p:cNvPicPr>
          <p:nvPr/>
        </p:nvPicPr>
        <p:blipFill rotWithShape="1">
          <a:blip r:embed="rId7"/>
          <a:srcRect b="13054"/>
          <a:stretch/>
        </p:blipFill>
        <p:spPr>
          <a:xfrm>
            <a:off x="5017487" y="857250"/>
            <a:ext cx="7684101" cy="4810125"/>
          </a:xfrm>
          <a:prstGeom prst="rect">
            <a:avLst/>
          </a:prstGeom>
        </p:spPr>
      </p:pic>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8"/>
          <a:stretch>
            <a:fillRect/>
          </a:stretch>
        </p:blipFill>
        <p:spPr>
          <a:xfrm>
            <a:off x="3676097" y="-106542"/>
            <a:ext cx="10299225" cy="6858000"/>
          </a:xfrm>
          <a:prstGeom prst="rect">
            <a:avLst/>
          </a:prstGeom>
        </p:spPr>
      </p:pic>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1990288"/>
          </a:xfrm>
          <a:prstGeom prst="rect">
            <a:avLst/>
          </a:prstGeom>
        </p:spPr>
        <p:txBody>
          <a:bodyPr>
            <a:spAutoFit/>
          </a:bodyPr>
          <a:lstStyle/>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iscuss </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Connect</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Feedback</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Register</a:t>
            </a:r>
            <a:endParaRPr kumimoji="0" lang="en-US" sz="20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S</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0"/>
            <a:ext cx="3666498" cy="6858000"/>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Service</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Gatewa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chedule Refres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ecurit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Walkthroug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shboard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Repo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tase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le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Q&amp;A</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Excel Workboo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Collaboration using Apps</a:t>
            </a:r>
          </a:p>
        </p:txBody>
      </p:sp>
      <p:sp>
        <p:nvSpPr>
          <p:cNvPr id="11" name="Parallelogram 1">
            <a:extLst>
              <a:ext uri="{FF2B5EF4-FFF2-40B4-BE49-F238E27FC236}">
                <a16:creationId xmlns:a16="http://schemas.microsoft.com/office/drawing/2014/main" id="{63185253-5447-4278-BE91-D638C34D84C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1ACB0F7F-2D71-4305-B80C-5CFC38A8499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FCE23F2F-F0EB-46F6-A53C-DF6BF9EDE69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6CA54A0C-78AC-437C-B2DC-9B2DCC0F6BE1}"/>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741584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4CE5D7F-5CC1-446E-A565-4F20EF4F427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7194651"/>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87D461-16D4-4732-9A51-BC6C75A56AA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067267541"/>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812219-2A5A-4F26-B86F-46CA8B28A3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22F9A1F-55F8-4CFB-8CE7-2A864E1D402A}"/>
              </a:ext>
            </a:extLst>
          </p:cNvPr>
          <p:cNvSpPr/>
          <p:nvPr/>
        </p:nvSpPr>
        <p:spPr>
          <a:xfrm>
            <a:off x="1013460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7850201"/>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F1F4D7-A69F-42E3-ADD7-8308AF395429}"/>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FC10ADB-9ADB-425B-8CB7-8F3B1947FC15}"/>
              </a:ext>
            </a:extLst>
          </p:cNvPr>
          <p:cNvSpPr/>
          <p:nvPr/>
        </p:nvSpPr>
        <p:spPr>
          <a:xfrm>
            <a:off x="1053084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0688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3" name="Picture 12" descr="A close up of a logo&#10;&#10;Description generated with very high confidence">
            <a:hlinkClick r:id="rId4"/>
            <a:extLst>
              <a:ext uri="{FF2B5EF4-FFF2-40B4-BE49-F238E27FC236}">
                <a16:creationId xmlns:a16="http://schemas.microsoft.com/office/drawing/2014/main" id="{7A158E15-026E-4A9C-8797-55706E43AD6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1746463"/>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5F2021-92B0-485B-94F3-F4A98B62805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007756090"/>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388282-147F-4F4E-B1B0-6AD8BB6EAF9F}"/>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88374733"/>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F01E912-7AB9-4CF2-9EB8-32DF93B57E31}"/>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0523671"/>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5DA4F2-E42E-43E8-974F-C66AFAAE0F2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8525018"/>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4928B5C-02A1-416B-980D-217F6C0478C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35F4D09D-6974-479D-8CC4-B48F3D696C00}"/>
              </a:ext>
            </a:extLst>
          </p:cNvPr>
          <p:cNvPicPr>
            <a:picLocks noChangeAspect="1"/>
          </p:cNvPicPr>
          <p:nvPr/>
        </p:nvPicPr>
        <p:blipFill rotWithShape="1">
          <a:blip r:embed="rId7"/>
          <a:srcRect t="2390" b="4852"/>
          <a:stretch/>
        </p:blipFill>
        <p:spPr>
          <a:xfrm>
            <a:off x="2705269" y="5737682"/>
            <a:ext cx="1267002" cy="733425"/>
          </a:xfrm>
          <a:prstGeom prst="rect">
            <a:avLst/>
          </a:prstGeom>
        </p:spPr>
      </p:pic>
      <p:grpSp>
        <p:nvGrpSpPr>
          <p:cNvPr id="32" name="Group 31">
            <a:extLst>
              <a:ext uri="{FF2B5EF4-FFF2-40B4-BE49-F238E27FC236}">
                <a16:creationId xmlns:a16="http://schemas.microsoft.com/office/drawing/2014/main" id="{E62DF4D0-A9D4-4291-BB5D-5E06E6DE09D5}"/>
              </a:ext>
            </a:extLst>
          </p:cNvPr>
          <p:cNvGrpSpPr/>
          <p:nvPr/>
        </p:nvGrpSpPr>
        <p:grpSpPr>
          <a:xfrm>
            <a:off x="2663189" y="5695393"/>
            <a:ext cx="2324101" cy="852304"/>
            <a:chOff x="2796539" y="5717619"/>
            <a:chExt cx="2324101" cy="852304"/>
          </a:xfrm>
        </p:grpSpPr>
        <p:cxnSp>
          <p:nvCxnSpPr>
            <p:cNvPr id="7" name="Straight Connector 6">
              <a:extLst>
                <a:ext uri="{FF2B5EF4-FFF2-40B4-BE49-F238E27FC236}">
                  <a16:creationId xmlns:a16="http://schemas.microsoft.com/office/drawing/2014/main" id="{1B230D21-010B-417C-BEB7-FC2CED43D5E8}"/>
                </a:ext>
              </a:extLst>
            </p:cNvPr>
            <p:cNvCxnSpPr/>
            <p:nvPr/>
          </p:nvCxnSpPr>
          <p:spPr>
            <a:xfrm>
              <a:off x="2796540" y="5717721"/>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3A5E5912-C5C4-41B5-ADFB-033287959857}"/>
                </a:ext>
              </a:extLst>
            </p:cNvPr>
            <p:cNvCxnSpPr>
              <a:cxnSpLocks/>
            </p:cNvCxnSpPr>
            <p:nvPr/>
          </p:nvCxnSpPr>
          <p:spPr>
            <a:xfrm>
              <a:off x="4119563" y="5717619"/>
              <a:ext cx="1001077" cy="396301"/>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2D0267A4-4581-4280-8CC6-918E7EC5CDED}"/>
                </a:ext>
              </a:extLst>
            </p:cNvPr>
            <p:cNvCxnSpPr>
              <a:cxnSpLocks/>
            </p:cNvCxnSpPr>
            <p:nvPr/>
          </p:nvCxnSpPr>
          <p:spPr>
            <a:xfrm>
              <a:off x="2796540" y="5717721"/>
              <a:ext cx="0" cy="852202"/>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a:extLst>
                <a:ext uri="{FF2B5EF4-FFF2-40B4-BE49-F238E27FC236}">
                  <a16:creationId xmlns:a16="http://schemas.microsoft.com/office/drawing/2014/main" id="{1B5A153A-7210-4EBC-A01D-6DB203EA717F}"/>
                </a:ext>
              </a:extLst>
            </p:cNvPr>
            <p:cNvCxnSpPr/>
            <p:nvPr/>
          </p:nvCxnSpPr>
          <p:spPr>
            <a:xfrm>
              <a:off x="2796539" y="6553594"/>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a:extLst>
                <a:ext uri="{FF2B5EF4-FFF2-40B4-BE49-F238E27FC236}">
                  <a16:creationId xmlns:a16="http://schemas.microsoft.com/office/drawing/2014/main" id="{4298DDEB-D3C9-47E5-8FF8-3772906852B4}"/>
                </a:ext>
              </a:extLst>
            </p:cNvPr>
            <p:cNvCxnSpPr>
              <a:cxnSpLocks/>
            </p:cNvCxnSpPr>
            <p:nvPr/>
          </p:nvCxnSpPr>
          <p:spPr>
            <a:xfrm flipV="1">
              <a:off x="4119563" y="6113920"/>
              <a:ext cx="1001077" cy="439674"/>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4064561420"/>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808337-B7F7-4C4C-9D12-D15C0C098F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133040"/>
            <a:ext cx="1451429" cy="2612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940476"/>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3378E4E-E9AC-4D9E-B493-082CDF4714A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781300"/>
            <a:ext cx="2055586" cy="1892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93298275"/>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9343FE1-DE03-4E39-BE32-C9BE80CA96C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94388242"/>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A4C252-17C1-4004-AD3C-D25006BA22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42455925"/>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048B48-F7A6-4BDD-9332-DB4CF5C3BAB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57585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BA81ECAE-9895-4929-BCC3-ADA25E723D1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7405068"/>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8"/>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9"/>
          <a:stretch>
            <a:fillRect/>
          </a:stretch>
        </p:blipFill>
        <p:spPr>
          <a:xfrm>
            <a:off x="67706" y="34925"/>
            <a:ext cx="398847" cy="607475"/>
          </a:xfrm>
          <a:prstGeom prst="rect">
            <a:avLst/>
          </a:prstGeom>
        </p:spPr>
      </p:pic>
      <p:pic>
        <p:nvPicPr>
          <p:cNvPr id="5" name="Picture 4">
            <a:extLst>
              <a:ext uri="{FF2B5EF4-FFF2-40B4-BE49-F238E27FC236}">
                <a16:creationId xmlns:a16="http://schemas.microsoft.com/office/drawing/2014/main" id="{937BFB39-8DD2-482E-8D9D-C9F7787F5EE2}"/>
              </a:ext>
            </a:extLst>
          </p:cNvPr>
          <p:cNvPicPr>
            <a:picLocks noChangeAspect="1"/>
          </p:cNvPicPr>
          <p:nvPr/>
        </p:nvPicPr>
        <p:blipFill>
          <a:blip r:embed="rId10"/>
          <a:stretch>
            <a:fillRect/>
          </a:stretch>
        </p:blipFill>
        <p:spPr>
          <a:xfrm>
            <a:off x="1895475" y="1290637"/>
            <a:ext cx="8401050" cy="4276725"/>
          </a:xfrm>
          <a:prstGeom prst="rect">
            <a:avLst/>
          </a:prstGeom>
        </p:spPr>
      </p:pic>
    </p:spTree>
    <p:extLst>
      <p:ext uri="{BB962C8B-B14F-4D97-AF65-F5344CB8AC3E}">
        <p14:creationId xmlns:p14="http://schemas.microsoft.com/office/powerpoint/2010/main" val="1163115460"/>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4E4932-CE4D-4C42-B9E3-AF4BC20D35BA}"/>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F484A8B2-15DC-4A81-9140-E4FFE0C5FF32}"/>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5199632"/>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pic>
        <p:nvPicPr>
          <p:cNvPr id="2" name="Picture 1">
            <a:extLst>
              <a:ext uri="{FF2B5EF4-FFF2-40B4-BE49-F238E27FC236}">
                <a16:creationId xmlns:a16="http://schemas.microsoft.com/office/drawing/2014/main" id="{82A20FAC-4F8A-46CB-B203-8B62117FA466}"/>
              </a:ext>
            </a:extLst>
          </p:cNvPr>
          <p:cNvPicPr>
            <a:picLocks noChangeAspect="1"/>
          </p:cNvPicPr>
          <p:nvPr/>
        </p:nvPicPr>
        <p:blipFill>
          <a:blip r:embed="rId5"/>
          <a:stretch>
            <a:fillRect/>
          </a:stretch>
        </p:blipFill>
        <p:spPr>
          <a:xfrm>
            <a:off x="1400175" y="57150"/>
            <a:ext cx="9391650" cy="67437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9"/>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10"/>
          <a:stretch>
            <a:fillRect/>
          </a:stretch>
        </p:blipFill>
        <p:spPr>
          <a:xfrm>
            <a:off x="67706" y="34925"/>
            <a:ext cx="398847" cy="607475"/>
          </a:xfrm>
          <a:prstGeom prst="rect">
            <a:avLst/>
          </a:prstGeom>
        </p:spPr>
      </p:pic>
    </p:spTree>
    <p:extLst>
      <p:ext uri="{BB962C8B-B14F-4D97-AF65-F5344CB8AC3E}">
        <p14:creationId xmlns:p14="http://schemas.microsoft.com/office/powerpoint/2010/main" val="850673241"/>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EBDEB6-2421-4247-A329-5E382353896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487B5EBD-64AF-4070-9716-0D451C7527F5}"/>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6852007"/>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318B71E-23B3-45DF-9F53-28D0DB48C9E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A97DABC-E499-49EC-955A-A6A8725A510C}"/>
              </a:ext>
            </a:extLst>
          </p:cNvPr>
          <p:cNvSpPr/>
          <p:nvPr/>
        </p:nvSpPr>
        <p:spPr>
          <a:xfrm>
            <a:off x="8951086" y="3675419"/>
            <a:ext cx="889000" cy="279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832987"/>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CFA37BB-0FF0-406A-8794-7254DCC373A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02758F01-02D1-4877-BFD6-0F28D2AC20D5}"/>
              </a:ext>
            </a:extLst>
          </p:cNvPr>
          <p:cNvSpPr/>
          <p:nvPr/>
        </p:nvSpPr>
        <p:spPr>
          <a:xfrm>
            <a:off x="292100" y="952500"/>
            <a:ext cx="2730500" cy="355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4207687"/>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5991C37-9A7B-453A-97ED-FEF78C157A77}"/>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6813470"/>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D43536-3241-41AB-A6BE-88891DF7C0EB}"/>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3156748"/>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705EE9-87ED-438E-8F3A-F141C3FE5C3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98097079-64E5-4AC8-B8F2-C8A2EE520D64}"/>
              </a:ext>
            </a:extLst>
          </p:cNvPr>
          <p:cNvSpPr/>
          <p:nvPr/>
        </p:nvSpPr>
        <p:spPr>
          <a:xfrm>
            <a:off x="6197601" y="3036711"/>
            <a:ext cx="663222" cy="502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0887489"/>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087DED-F84E-461D-83CE-0A444E8A18D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585CFAE1-39FB-4EBE-B0FA-0F9E6FE371BD}"/>
              </a:ext>
            </a:extLst>
          </p:cNvPr>
          <p:cNvSpPr/>
          <p:nvPr/>
        </p:nvSpPr>
        <p:spPr>
          <a:xfrm>
            <a:off x="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A68E094-8AD5-4372-B518-0318364AA859}"/>
              </a:ext>
            </a:extLst>
          </p:cNvPr>
          <p:cNvSpPr/>
          <p:nvPr/>
        </p:nvSpPr>
        <p:spPr>
          <a:xfrm>
            <a:off x="1377245" y="673100"/>
            <a:ext cx="274319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8680DB6-92A6-47AF-828F-A3DCF8D15FC2}"/>
              </a:ext>
            </a:extLst>
          </p:cNvPr>
          <p:cNvSpPr/>
          <p:nvPr/>
        </p:nvSpPr>
        <p:spPr>
          <a:xfrm>
            <a:off x="1986845" y="1441450"/>
            <a:ext cx="3188405"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E080D42-BA1F-4B8D-B79B-D667A4EA3932}"/>
              </a:ext>
            </a:extLst>
          </p:cNvPr>
          <p:cNvSpPr/>
          <p:nvPr/>
        </p:nvSpPr>
        <p:spPr>
          <a:xfrm>
            <a:off x="10943273"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937B9F90-28C8-4303-8F9D-B9180F812004}"/>
              </a:ext>
            </a:extLst>
          </p:cNvPr>
          <p:cNvSpPr/>
          <p:nvPr/>
        </p:nvSpPr>
        <p:spPr>
          <a:xfrm>
            <a:off x="1986845"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A111618-2AB7-4A3B-BD52-A3CDD23EB17D}"/>
              </a:ext>
            </a:extLst>
          </p:cNvPr>
          <p:cNvSpPr/>
          <p:nvPr/>
        </p:nvSpPr>
        <p:spPr>
          <a:xfrm>
            <a:off x="402413" y="673100"/>
            <a:ext cx="974832"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77D6301D-CC71-4B43-873D-A5FFB4375A57}"/>
              </a:ext>
            </a:extLst>
          </p:cNvPr>
          <p:cNvSpPr/>
          <p:nvPr/>
        </p:nvSpPr>
        <p:spPr>
          <a:xfrm>
            <a:off x="6758870"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CF6763AB-4CBC-4F09-B2D5-DC32E1C169C7}"/>
              </a:ext>
            </a:extLst>
          </p:cNvPr>
          <p:cNvSpPr/>
          <p:nvPr/>
        </p:nvSpPr>
        <p:spPr>
          <a:xfrm>
            <a:off x="0" y="4032250"/>
            <a:ext cx="1377245" cy="24483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81575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4658A49-9E8D-4F82-B279-808FC7126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04299747"/>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EA33BC-60D5-4F89-A6CC-DAC856513F3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31116520"/>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C3D3ADA-F6DC-4715-9E3C-25A7F8D738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95625783"/>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85B924-B4F3-4328-B7D6-CCB432104E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70121463"/>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A9EFE4-C6DB-4F10-BD4F-F84BC5865A8E}"/>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96595407"/>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894D72-6B45-4BEE-B752-8437DDD0813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30315407"/>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8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190E3C9-9AEF-4EC6-8E07-76D87FF4BBE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r="60673"/>
          <a:stretch/>
        </p:blipFill>
        <p:spPr>
          <a:xfrm>
            <a:off x="0" y="880"/>
            <a:ext cx="4794782" cy="6856240"/>
          </a:xfrm>
          <a:prstGeom prst="rect">
            <a:avLst/>
          </a:prstGeom>
        </p:spPr>
      </p:pic>
      <p:sp>
        <p:nvSpPr>
          <p:cNvPr id="19" name="Freeform 28">
            <a:extLst>
              <a:ext uri="{FF2B5EF4-FFF2-40B4-BE49-F238E27FC236}">
                <a16:creationId xmlns:a16="http://schemas.microsoft.com/office/drawing/2014/main" id="{2B70B725-07B0-4EB9-A2D7-AE7B6CFFE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973338" y="0"/>
            <a:ext cx="11218661" cy="68580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5B2C47C6-EA4D-46C3-8760-73C0913529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420248" y="0"/>
            <a:ext cx="10771752" cy="68580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4DECDF8-23A5-4E69-BCBC-BC98060A121F}"/>
              </a:ext>
            </a:extLst>
          </p:cNvPr>
          <p:cNvSpPr>
            <a:spLocks noGrp="1"/>
          </p:cNvSpPr>
          <p:nvPr>
            <p:ph type="title"/>
          </p:nvPr>
        </p:nvSpPr>
        <p:spPr>
          <a:xfrm>
            <a:off x="4384039" y="365125"/>
            <a:ext cx="7164493" cy="1325563"/>
          </a:xfrm>
        </p:spPr>
        <p:txBody>
          <a:bodyPr vert="horz" lIns="91440" tIns="45720" rIns="91440" bIns="45720" rtlCol="0" anchor="ctr">
            <a:normAutofit/>
          </a:bodyPr>
          <a:lstStyle/>
          <a:p>
            <a:r>
              <a:rPr lang="en-US" dirty="0">
                <a:latin typeface="Segoe UI Light" panose="020B0502040204020203" pitchFamily="34" charset="0"/>
                <a:cs typeface="Segoe UI Light" panose="020B0502040204020203" pitchFamily="34" charset="0"/>
              </a:rPr>
              <a:t>Summary</a:t>
            </a:r>
          </a:p>
        </p:txBody>
      </p:sp>
      <p:sp>
        <p:nvSpPr>
          <p:cNvPr id="3" name="Content Placeholder 2">
            <a:extLst>
              <a:ext uri="{FF2B5EF4-FFF2-40B4-BE49-F238E27FC236}">
                <a16:creationId xmlns:a16="http://schemas.microsoft.com/office/drawing/2014/main" id="{7FF0C641-4EAE-4696-A384-96F0A0D630ED}"/>
              </a:ext>
            </a:extLst>
          </p:cNvPr>
          <p:cNvSpPr>
            <a:spLocks noGrp="1"/>
          </p:cNvSpPr>
          <p:nvPr>
            <p:ph sz="half" idx="1"/>
          </p:nvPr>
        </p:nvSpPr>
        <p:spPr>
          <a:xfrm>
            <a:off x="4387515" y="1580289"/>
            <a:ext cx="7607927" cy="5025921"/>
          </a:xfrm>
          <a:noFill/>
        </p:spPr>
        <p:txBody>
          <a:bodyPr vert="horz" lIns="91440" tIns="45720" rIns="91440" bIns="45720" rtlCol="0">
            <a:normAutofit/>
          </a:bodyPr>
          <a:lstStyle/>
          <a:p>
            <a:pPr>
              <a:buClr>
                <a:srgbClr val="F2C812"/>
              </a:buClr>
            </a:pPr>
            <a:r>
              <a:rPr lang="en-US" sz="2000" dirty="0"/>
              <a:t>Intro Talk</a:t>
            </a:r>
          </a:p>
          <a:p>
            <a:pPr>
              <a:buClr>
                <a:srgbClr val="F2C812"/>
              </a:buClr>
            </a:pPr>
            <a:r>
              <a:rPr lang="en-US" sz="2000" dirty="0"/>
              <a:t>Power BI Desktop</a:t>
            </a:r>
          </a:p>
          <a:p>
            <a:pPr>
              <a:buClr>
                <a:srgbClr val="F2C812"/>
              </a:buClr>
            </a:pPr>
            <a:r>
              <a:rPr lang="en-US" sz="2000" dirty="0">
                <a:solidFill>
                  <a:srgbClr val="F2C812"/>
                </a:solidFill>
              </a:rPr>
              <a:t>Accessing Data (Get Data, Adding Data)</a:t>
            </a:r>
          </a:p>
          <a:p>
            <a:pPr>
              <a:buClr>
                <a:srgbClr val="F2C812"/>
              </a:buClr>
            </a:pPr>
            <a:r>
              <a:rPr lang="en-US" sz="2000" dirty="0">
                <a:solidFill>
                  <a:srgbClr val="F2C812"/>
                </a:solidFill>
              </a:rPr>
              <a:t>Data Preparation (Transform, Append, Conditional Column)</a:t>
            </a:r>
          </a:p>
          <a:p>
            <a:pPr>
              <a:buClr>
                <a:srgbClr val="F2C812"/>
              </a:buClr>
            </a:pPr>
            <a:r>
              <a:rPr lang="en-US" sz="2000" dirty="0">
                <a:solidFill>
                  <a:srgbClr val="F2C812"/>
                </a:solidFill>
              </a:rPr>
              <a:t>Data Modeling and Exploration</a:t>
            </a:r>
          </a:p>
          <a:p>
            <a:pPr>
              <a:buClr>
                <a:srgbClr val="F2C812"/>
              </a:buClr>
            </a:pPr>
            <a:r>
              <a:rPr lang="en-US" sz="2000" dirty="0">
                <a:solidFill>
                  <a:srgbClr val="F2C812"/>
                </a:solidFill>
              </a:rPr>
              <a:t>Data Visualizations</a:t>
            </a:r>
          </a:p>
          <a:p>
            <a:pPr>
              <a:buClr>
                <a:srgbClr val="F2C812"/>
              </a:buClr>
            </a:pPr>
            <a:r>
              <a:rPr lang="en-US" sz="2000" dirty="0"/>
              <a:t>Hands-On Lab</a:t>
            </a:r>
          </a:p>
          <a:p>
            <a:pPr>
              <a:buClr>
                <a:srgbClr val="F2C812"/>
              </a:buClr>
            </a:pPr>
            <a:r>
              <a:rPr lang="en-US" sz="2000" dirty="0"/>
              <a:t>Lunch Topics</a:t>
            </a:r>
          </a:p>
          <a:p>
            <a:pPr>
              <a:buClr>
                <a:srgbClr val="F2C812"/>
              </a:buClr>
            </a:pPr>
            <a:r>
              <a:rPr lang="en-US" sz="2000" dirty="0"/>
              <a:t>Power BI Service </a:t>
            </a:r>
          </a:p>
          <a:p>
            <a:pPr>
              <a:buClr>
                <a:srgbClr val="F2C812"/>
              </a:buClr>
            </a:pPr>
            <a:r>
              <a:rPr lang="en-US" sz="2000" dirty="0">
                <a:solidFill>
                  <a:srgbClr val="F2C812"/>
                </a:solidFill>
              </a:rPr>
              <a:t>Publishing a Report</a:t>
            </a:r>
          </a:p>
          <a:p>
            <a:pPr>
              <a:buClr>
                <a:srgbClr val="F2C812"/>
              </a:buClr>
            </a:pPr>
            <a:r>
              <a:rPr lang="en-US" sz="2000" dirty="0">
                <a:solidFill>
                  <a:srgbClr val="F2C812"/>
                </a:solidFill>
              </a:rPr>
              <a:t>Building a Dashboard</a:t>
            </a:r>
          </a:p>
          <a:p>
            <a:pPr>
              <a:buClr>
                <a:srgbClr val="F2C812"/>
              </a:buClr>
            </a:pPr>
            <a:r>
              <a:rPr lang="en-US" sz="2000" dirty="0">
                <a:solidFill>
                  <a:srgbClr val="F2C812"/>
                </a:solidFill>
              </a:rPr>
              <a:t>Collaboration and Distribution</a:t>
            </a:r>
          </a:p>
        </p:txBody>
      </p:sp>
      <p:grpSp>
        <p:nvGrpSpPr>
          <p:cNvPr id="35" name="Group 34">
            <a:extLst>
              <a:ext uri="{FF2B5EF4-FFF2-40B4-BE49-F238E27FC236}">
                <a16:creationId xmlns:a16="http://schemas.microsoft.com/office/drawing/2014/main" id="{27D15B86-2729-47DF-AE74-80D2AAB87218}"/>
              </a:ext>
            </a:extLst>
          </p:cNvPr>
          <p:cNvGrpSpPr/>
          <p:nvPr/>
        </p:nvGrpSpPr>
        <p:grpSpPr>
          <a:xfrm>
            <a:off x="-263802" y="5341257"/>
            <a:ext cx="1474115" cy="1497392"/>
            <a:chOff x="-304882" y="3583735"/>
            <a:chExt cx="1397665" cy="1419734"/>
          </a:xfrm>
          <a:solidFill>
            <a:srgbClr val="F2C812"/>
          </a:solidFill>
        </p:grpSpPr>
        <p:sp>
          <p:nvSpPr>
            <p:cNvPr id="36" name="Parallelogram 3">
              <a:extLst>
                <a:ext uri="{FF2B5EF4-FFF2-40B4-BE49-F238E27FC236}">
                  <a16:creationId xmlns:a16="http://schemas.microsoft.com/office/drawing/2014/main" id="{F2642927-F94A-42AF-9640-B768835391E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7" name="Parallelogram 3">
              <a:extLst>
                <a:ext uri="{FF2B5EF4-FFF2-40B4-BE49-F238E27FC236}">
                  <a16:creationId xmlns:a16="http://schemas.microsoft.com/office/drawing/2014/main" id="{E6A16C6F-B231-4405-AC07-71F666D8DF7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8" name="Parallelogram 3">
              <a:extLst>
                <a:ext uri="{FF2B5EF4-FFF2-40B4-BE49-F238E27FC236}">
                  <a16:creationId xmlns:a16="http://schemas.microsoft.com/office/drawing/2014/main" id="{EAC5CFDC-1639-4A9A-AA84-551C61B9B5FC}"/>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26" name="Parallelogram 1">
            <a:extLst>
              <a:ext uri="{FF2B5EF4-FFF2-40B4-BE49-F238E27FC236}">
                <a16:creationId xmlns:a16="http://schemas.microsoft.com/office/drawing/2014/main" id="{2C56C430-34DA-43BE-A784-14DDDBF3FDAA}"/>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E17A27E3-B025-41C1-9972-E87A28B708E7}"/>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5"/>
              <a:extLst>
                <a:ext uri="{FF2B5EF4-FFF2-40B4-BE49-F238E27FC236}">
                  <a16:creationId xmlns:a16="http://schemas.microsoft.com/office/drawing/2014/main" id="{DD27FE02-C4AC-4622-BA89-AF934FA9C480}"/>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9" name="Picture 28">
              <a:hlinkClick r:id="rId5"/>
              <a:extLst>
                <a:ext uri="{FF2B5EF4-FFF2-40B4-BE49-F238E27FC236}">
                  <a16:creationId xmlns:a16="http://schemas.microsoft.com/office/drawing/2014/main" id="{B3B094EA-742F-4E49-90BB-7C5EDB691249}"/>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11359776"/>
      </p:ext>
    </p:extLst>
  </p:cSld>
  <p:clrMapOvr>
    <a:overrideClrMapping bg1="dk1" tx1="lt1" bg2="dk2" tx2="lt2" accent1="accent1" accent2="accent2" accent3="accent3" accent4="accent4" accent5="accent5" accent6="accent6" hlink="hlink" folHlink="folHlink"/>
  </p:clrMapOvr>
</p:sld>
</file>

<file path=ppt/slides/slide2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258E791-5A5C-4EC0-A81D-73010F97EED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8029"/>
          <a:stretch/>
        </p:blipFill>
        <p:spPr>
          <a:xfrm>
            <a:off x="-1" y="880"/>
            <a:ext cx="6336360" cy="685624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653916"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2C812"/>
                </a:solidFill>
                <a:effectLst/>
                <a:uLnTx/>
                <a:uFillTx/>
                <a:latin typeface="Segoe UI Semilight" panose="020B0402040204020203" pitchFamily="34" charset="0"/>
                <a:ea typeface="+mn-ea"/>
                <a:cs typeface="Segoe UI Semilight" panose="020B04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6938866"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668687" y="4025997"/>
            <a:ext cx="5827644" cy="6669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 normalizeH="0" baseline="0" noProof="0" dirty="0">
                <a:ln>
                  <a:noFill/>
                </a:ln>
                <a:solidFill>
                  <a:srgbClr val="F2C812"/>
                </a:solidFill>
                <a:effectLst/>
                <a:uLnTx/>
                <a:uFillTx/>
                <a:latin typeface="Segoe UI"/>
                <a:ea typeface="+mn-ea"/>
                <a:cs typeface="+mn-cs"/>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802885" y="2608730"/>
            <a:ext cx="5559248"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Segoe UI (Body)"/>
                <a:ea typeface="+mn-ea"/>
                <a:cs typeface="+mn-cs"/>
              </a:rPr>
              <a:t>goo.gl/HmwrHV</a:t>
            </a: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A06B3914-3AEF-4266-8D2C-CFF0525B93A2}"/>
              </a:ext>
            </a:extLst>
          </p:cNvPr>
          <p:cNvGrpSpPr/>
          <p:nvPr/>
        </p:nvGrpSpPr>
        <p:grpSpPr>
          <a:xfrm>
            <a:off x="11290646" y="6569923"/>
            <a:ext cx="831504" cy="252506"/>
            <a:chOff x="668108" y="601336"/>
            <a:chExt cx="3665655" cy="1113164"/>
          </a:xfrm>
          <a:solidFill>
            <a:schemeClr val="bg1"/>
          </a:solidFill>
        </p:grpSpPr>
        <p:pic>
          <p:nvPicPr>
            <p:cNvPr id="27" name="Picture 26">
              <a:hlinkClick r:id="rId6"/>
              <a:extLst>
                <a:ext uri="{FF2B5EF4-FFF2-40B4-BE49-F238E27FC236}">
                  <a16:creationId xmlns:a16="http://schemas.microsoft.com/office/drawing/2014/main" id="{0DFD2452-97C0-42B3-89D8-4F8DAE6AB54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8" name="Picture 27">
              <a:hlinkClick r:id="rId6"/>
              <a:extLst>
                <a:ext uri="{FF2B5EF4-FFF2-40B4-BE49-F238E27FC236}">
                  <a16:creationId xmlns:a16="http://schemas.microsoft.com/office/drawing/2014/main" id="{421930DF-40CD-415C-96F3-3ABE52CC6E89}"/>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00671928"/>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re-lab: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e1r2iq</a:t>
            </a: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Get Data: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GiuiM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Data Prep: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UjmsL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Model and Explor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mpCUSC</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Visualizations: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qEbruw</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ower BI Servic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2b9HYH</a:t>
            </a:r>
          </a:p>
        </p:txBody>
      </p:sp>
    </p:spTree>
    <p:extLst>
      <p:ext uri="{BB962C8B-B14F-4D97-AF65-F5344CB8AC3E}">
        <p14:creationId xmlns:p14="http://schemas.microsoft.com/office/powerpoint/2010/main" val="2220005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93">
            <a:extLst>
              <a:ext uri="{FF2B5EF4-FFF2-40B4-BE49-F238E27FC236}">
                <a16:creationId xmlns:a16="http://schemas.microsoft.com/office/drawing/2014/main" id="{99697AC2-FA86-4BB5-BDD4-F722A8984737}"/>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50000" contrast="-5000"/>
                    </a14:imgEffect>
                  </a14:imgLayer>
                </a14:imgProps>
              </a:ext>
            </a:extLst>
          </a:blip>
          <a:srcRect l="-1" r="25699"/>
          <a:stretch/>
        </p:blipFill>
        <p:spPr>
          <a:xfrm>
            <a:off x="3133231" y="0"/>
            <a:ext cx="9058769" cy="6858000"/>
          </a:xfrm>
          <a:prstGeom prst="rect">
            <a:avLst/>
          </a:prstGeom>
        </p:spPr>
      </p:pic>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l">
              <a:defRPr/>
            </a:pPr>
            <a:r>
              <a:rPr lang="en-US" sz="1600" dirty="0">
                <a:solidFill>
                  <a:srgbClr val="008FD5"/>
                </a:solidFill>
                <a:latin typeface="Segoe UI"/>
              </a:rPr>
              <a:t>Monday, March 11</a:t>
            </a:r>
            <a:r>
              <a:rPr lang="en-US" sz="1600" baseline="30000" dirty="0">
                <a:solidFill>
                  <a:srgbClr val="008FD5"/>
                </a:solidFill>
                <a:latin typeface="Segoe UI"/>
              </a:rPr>
              <a:t>th</a:t>
            </a:r>
            <a:r>
              <a:rPr lang="en-US" sz="1600" dirty="0">
                <a:solidFill>
                  <a:srgbClr val="008FD5"/>
                </a:solidFill>
                <a:latin typeface="Segoe UI"/>
              </a:rPr>
              <a:t>, 2019</a:t>
            </a:r>
          </a:p>
          <a:p>
            <a:pPr lvl="0" algn="l">
              <a:defRPr/>
            </a:pPr>
            <a:r>
              <a:rPr lang="en-US" sz="1600" dirty="0">
                <a:solidFill>
                  <a:srgbClr val="008FD5"/>
                </a:solidFill>
                <a:latin typeface="Segoe UI"/>
              </a:rPr>
              <a:t>9 am - 5 pm</a:t>
            </a:r>
          </a:p>
          <a:p>
            <a:pPr lvl="0" algn="l">
              <a:defRPr/>
            </a:pPr>
            <a:r>
              <a:rPr lang="en-US" sz="1600" dirty="0">
                <a:solidFill>
                  <a:srgbClr val="008FD5"/>
                </a:solidFill>
                <a:latin typeface="Segoe UI"/>
              </a:rPr>
              <a:t>Power BI</a:t>
            </a:r>
          </a:p>
        </p:txBody>
      </p:sp>
      <p:sp>
        <p:nvSpPr>
          <p:cNvPr id="46" name="Title 1">
            <a:extLst>
              <a:ext uri="{FF2B5EF4-FFF2-40B4-BE49-F238E27FC236}">
                <a16:creationId xmlns:a16="http://schemas.microsoft.com/office/drawing/2014/main" id="{0F17092E-08E8-4E23-B795-E6F9FE5F79D9}"/>
              </a:ext>
            </a:extLst>
          </p:cNvPr>
          <p:cNvSpPr txBox="1">
            <a:spLocks/>
          </p:cNvSpPr>
          <p:nvPr/>
        </p:nvSpPr>
        <p:spPr>
          <a:xfrm>
            <a:off x="5473700" y="365125"/>
            <a:ext cx="716449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Resources</a:t>
            </a:r>
          </a:p>
        </p:txBody>
      </p:sp>
      <p:sp>
        <p:nvSpPr>
          <p:cNvPr id="80" name="Text Placeholder 6">
            <a:extLst>
              <a:ext uri="{FF2B5EF4-FFF2-40B4-BE49-F238E27FC236}">
                <a16:creationId xmlns:a16="http://schemas.microsoft.com/office/drawing/2014/main" id="{3F93058B-0C90-4639-AA45-41243FB7C2C1}"/>
              </a:ext>
            </a:extLst>
          </p:cNvPr>
          <p:cNvSpPr txBox="1">
            <a:spLocks/>
          </p:cNvSpPr>
          <p:nvPr/>
        </p:nvSpPr>
        <p:spPr>
          <a:xfrm>
            <a:off x="5027505" y="1581169"/>
            <a:ext cx="7008920" cy="5025921"/>
          </a:xfrm>
          <a:prstGeom prst="rect">
            <a:avLst/>
          </a:prstGeom>
        </p:spPr>
        <p:txBody>
          <a:bodyPr vert="horz" lIns="91440" tIns="45720" rIns="91440" bIns="45720" rtlCol="0">
            <a:normAutofit/>
          </a:bodyPr>
          <a:lstStyle>
            <a:lvl1pPr marL="0" indent="0" algn="l" defTabSz="1219170" rtl="0" eaLnBrk="1" latinLnBrk="0" hangingPunct="1">
              <a:lnSpc>
                <a:spcPct val="100000"/>
              </a:lnSpc>
              <a:spcBef>
                <a:spcPct val="20000"/>
              </a:spcBef>
              <a:buClr>
                <a:schemeClr val="accent3"/>
              </a:buClr>
              <a:buFont typeface="Arial"/>
              <a:buNone/>
              <a:defRPr lang="en-US" sz="1867" b="0" i="0" kern="1200" dirty="0" smtClean="0">
                <a:solidFill>
                  <a:schemeClr val="tx1"/>
                </a:solidFill>
                <a:latin typeface="+mn-lt"/>
                <a:ea typeface="Gotham Light" charset="0"/>
                <a:cs typeface="Gotham Light"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ct val="20000"/>
              </a:spcBef>
              <a:spcAft>
                <a:spcPts val="0"/>
              </a:spcAft>
              <a:buClr>
                <a:srgbClr val="F2C812"/>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rPr>
              <a:t>Blog: </a:t>
            </a:r>
            <a:r>
              <a:rPr kumimoji="0" lang="en-US" sz="2000" b="0" i="0" u="none" strike="noStrike" kern="1200" cap="none" spc="0" normalizeH="0" baseline="0" noProof="0" dirty="0">
                <a:ln>
                  <a:noFill/>
                </a:ln>
                <a:solidFill>
                  <a:srgbClr val="F2C812"/>
                </a:solidFill>
                <a:effectLst/>
                <a:uLnTx/>
                <a:uFillTx/>
                <a:latin typeface="Calibri" panose="020F0502020204030204"/>
              </a:rPr>
              <a:t>dba2o.wordpress.com</a:t>
            </a:r>
          </a:p>
          <a:p>
            <a:pPr marL="342900" lvl="0" indent="-342900">
              <a:buClr>
                <a:srgbClr val="F2C812"/>
              </a:buClr>
              <a:buFont typeface="Arial" panose="020B0604020202020204" pitchFamily="34" charset="0"/>
              <a:buChar char="•"/>
              <a:defRPr/>
            </a:pPr>
            <a:r>
              <a:rPr lang="en-US" sz="2000" dirty="0">
                <a:solidFill>
                  <a:prstClr val="white"/>
                </a:solidFill>
                <a:latin typeface="Calibri" panose="020F0502020204030204"/>
              </a:rPr>
              <a:t>Power BI Guided </a:t>
            </a:r>
            <a:r>
              <a:rPr lang="en-US" sz="2000" dirty="0">
                <a:solidFill>
                  <a:prstClr val="white"/>
                </a:solidFill>
              </a:rPr>
              <a:t>Learning: </a:t>
            </a:r>
            <a:r>
              <a:rPr lang="en-US" sz="2000" dirty="0">
                <a:solidFill>
                  <a:srgbClr val="F2C812"/>
                </a:solidFill>
              </a:rPr>
              <a:t>docs.microsoft.com/power-bi/guided-learning</a:t>
            </a:r>
            <a:endParaRPr lang="en-US" sz="2000" dirty="0">
              <a:solidFill>
                <a:srgbClr val="F2C812"/>
              </a:solidFill>
              <a:latin typeface="Calibri" panose="020F0502020204030204"/>
            </a:endParaRPr>
          </a:p>
          <a:p>
            <a:pPr marL="342900" lvl="0" indent="-342900">
              <a:buClr>
                <a:srgbClr val="F2C812"/>
              </a:buClr>
              <a:buFont typeface="Arial" panose="020B0604020202020204" pitchFamily="34" charset="0"/>
              <a:buChar char="•"/>
              <a:defRPr/>
            </a:pPr>
            <a:r>
              <a:rPr kumimoji="0" lang="en-US" sz="2000" b="0" i="0" u="none" strike="noStrike" kern="1200" cap="none" spc="0" normalizeH="0" baseline="0" noProof="0" dirty="0">
                <a:ln>
                  <a:noFill/>
                </a:ln>
                <a:solidFill>
                  <a:prstClr val="white"/>
                </a:solidFill>
                <a:effectLst/>
                <a:uLnTx/>
                <a:uFillTx/>
                <a:latin typeface="Calibri" panose="020F0502020204030204"/>
              </a:rPr>
              <a:t>Power </a:t>
            </a:r>
            <a:r>
              <a:rPr lang="en-US" sz="2000" dirty="0">
                <a:solidFill>
                  <a:prstClr val="white"/>
                </a:solidFill>
              </a:rPr>
              <a:t>BI Community: </a:t>
            </a:r>
            <a:r>
              <a:rPr lang="en-US" sz="2000" dirty="0">
                <a:solidFill>
                  <a:srgbClr val="F2C812"/>
                </a:solidFill>
              </a:rPr>
              <a:t>community.powerbi.com</a:t>
            </a:r>
          </a:p>
          <a:p>
            <a:pPr marL="342900" indent="-342900">
              <a:buClr>
                <a:srgbClr val="F2C812"/>
              </a:buClr>
              <a:buFont typeface="Arial" panose="020B0604020202020204" pitchFamily="34" charset="0"/>
              <a:buChar char="•"/>
              <a:defRPr/>
            </a:pPr>
            <a:r>
              <a:rPr lang="en-US" sz="2000" dirty="0">
                <a:solidFill>
                  <a:prstClr val="white"/>
                </a:solidFill>
              </a:rPr>
              <a:t>Power BI Blog: </a:t>
            </a:r>
            <a:r>
              <a:rPr lang="en-US" sz="2000" dirty="0">
                <a:solidFill>
                  <a:srgbClr val="F2C812"/>
                </a:solidFill>
              </a:rPr>
              <a:t>powerbi.microsoft.com/blog</a:t>
            </a:r>
          </a:p>
          <a:p>
            <a:pPr marL="342900" indent="-342900">
              <a:buClr>
                <a:srgbClr val="F2C812"/>
              </a:buClr>
              <a:buFont typeface="Arial" panose="020B0604020202020204" pitchFamily="34" charset="0"/>
              <a:buChar char="•"/>
              <a:defRPr/>
            </a:pPr>
            <a:r>
              <a:rPr lang="en-US" sz="2000" dirty="0">
                <a:solidFill>
                  <a:prstClr val="white"/>
                </a:solidFill>
              </a:rPr>
              <a:t>February 2019 Updates: </a:t>
            </a:r>
            <a:r>
              <a:rPr lang="en-US" sz="2000" dirty="0">
                <a:solidFill>
                  <a:srgbClr val="F2C812"/>
                </a:solidFill>
              </a:rPr>
              <a:t>youtu.be/dMD25wfElLg</a:t>
            </a:r>
          </a:p>
          <a:p>
            <a:pPr marL="342900" indent="-342900">
              <a:buClr>
                <a:srgbClr val="F2C812"/>
              </a:buClr>
              <a:buFont typeface="Arial" panose="020B0604020202020204" pitchFamily="34" charset="0"/>
              <a:buChar char="•"/>
              <a:defRPr/>
            </a:pPr>
            <a:endParaRPr lang="en-US" sz="2000" dirty="0">
              <a:solidFill>
                <a:srgbClr val="F2C812"/>
              </a:solidFill>
            </a:endParaRPr>
          </a:p>
          <a:p>
            <a:pPr marL="342900" lvl="0" indent="-342900">
              <a:buClr>
                <a:srgbClr val="F2C812"/>
              </a:buClr>
              <a:buFont typeface="Arial" panose="020B0604020202020204" pitchFamily="34" charset="0"/>
              <a:buChar char="•"/>
              <a:defRPr/>
            </a:pPr>
            <a:endParaRPr kumimoji="0" lang="en-US" sz="2000" b="0" i="0" u="none" strike="noStrike" kern="1200" cap="none" spc="0" normalizeH="0" baseline="0" noProof="0" dirty="0">
              <a:ln>
                <a:noFill/>
              </a:ln>
              <a:solidFill>
                <a:srgbClr val="F2C812"/>
              </a:solidFill>
              <a:effectLst/>
              <a:uLnTx/>
              <a:uFillTx/>
              <a:latin typeface="Calibri" panose="020F0502020204030204"/>
            </a:endParaRPr>
          </a:p>
        </p:txBody>
      </p:sp>
      <p:sp>
        <p:nvSpPr>
          <p:cNvPr id="82" name="Right Triangle 81">
            <a:extLst>
              <a:ext uri="{FF2B5EF4-FFF2-40B4-BE49-F238E27FC236}">
                <a16:creationId xmlns:a16="http://schemas.microsoft.com/office/drawing/2014/main" id="{E8F00A46-19AE-4994-B5B5-723A8D4004D2}"/>
              </a:ext>
            </a:extLst>
          </p:cNvPr>
          <p:cNvSpPr/>
          <p:nvPr/>
        </p:nvSpPr>
        <p:spPr>
          <a:xfrm rot="10800000" flipH="1">
            <a:off x="3120797"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84" name="Parallelogram 1">
            <a:extLst>
              <a:ext uri="{FF2B5EF4-FFF2-40B4-BE49-F238E27FC236}">
                <a16:creationId xmlns:a16="http://schemas.microsoft.com/office/drawing/2014/main" id="{F6FAF158-0435-4576-9B94-771FF32EA535}"/>
              </a:ext>
            </a:extLst>
          </p:cNvPr>
          <p:cNvSpPr/>
          <p:nvPr/>
        </p:nvSpPr>
        <p:spPr>
          <a:xfrm rot="5400000" flipH="1">
            <a:off x="5679997" y="339902"/>
            <a:ext cx="832006" cy="12255623"/>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3B717B63-0399-4449-95A6-3FE77DCFC384}"/>
              </a:ext>
            </a:extLst>
          </p:cNvPr>
          <p:cNvGrpSpPr/>
          <p:nvPr/>
        </p:nvGrpSpPr>
        <p:grpSpPr>
          <a:xfrm>
            <a:off x="10500169" y="6310888"/>
            <a:ext cx="1536256" cy="466520"/>
            <a:chOff x="668108" y="601336"/>
            <a:chExt cx="3665655" cy="1113164"/>
          </a:xfrm>
          <a:solidFill>
            <a:schemeClr val="bg2"/>
          </a:solidFill>
        </p:grpSpPr>
        <p:pic>
          <p:nvPicPr>
            <p:cNvPr id="87" name="Picture 86">
              <a:hlinkClick r:id="rId5"/>
              <a:extLst>
                <a:ext uri="{FF2B5EF4-FFF2-40B4-BE49-F238E27FC236}">
                  <a16:creationId xmlns:a16="http://schemas.microsoft.com/office/drawing/2014/main" id="{BC19DD28-3480-42DC-B0CE-A147F4EE4B5E}"/>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8" name="Picture 87">
              <a:hlinkClick r:id="rId5"/>
              <a:extLst>
                <a:ext uri="{FF2B5EF4-FFF2-40B4-BE49-F238E27FC236}">
                  <a16:creationId xmlns:a16="http://schemas.microsoft.com/office/drawing/2014/main" id="{DB0149A2-9278-4E7F-84A7-1A5124603449}"/>
                </a:ext>
              </a:extLst>
            </p:cNvPr>
            <p:cNvPicPr>
              <a:picLocks noChangeAspect="1"/>
            </p:cNvPicPr>
            <p:nvPr/>
          </p:nvPicPr>
          <p:blipFill>
            <a:blip r:embed="rId7"/>
            <a:stretch>
              <a:fillRect/>
            </a:stretch>
          </p:blipFill>
          <p:spPr>
            <a:xfrm>
              <a:off x="1465541" y="1130596"/>
              <a:ext cx="2868222" cy="355013"/>
            </a:xfrm>
            <a:prstGeom prst="rect">
              <a:avLst/>
            </a:prstGeom>
            <a:grpFill/>
          </p:spPr>
        </p:pic>
      </p:grpSp>
      <p:grpSp>
        <p:nvGrpSpPr>
          <p:cNvPr id="95" name="Group 94">
            <a:extLst>
              <a:ext uri="{FF2B5EF4-FFF2-40B4-BE49-F238E27FC236}">
                <a16:creationId xmlns:a16="http://schemas.microsoft.com/office/drawing/2014/main" id="{63963C0E-8426-4918-A543-E5B8338CA2DF}"/>
              </a:ext>
            </a:extLst>
          </p:cNvPr>
          <p:cNvGrpSpPr/>
          <p:nvPr/>
        </p:nvGrpSpPr>
        <p:grpSpPr>
          <a:xfrm>
            <a:off x="-263802" y="5341257"/>
            <a:ext cx="1474115" cy="1497392"/>
            <a:chOff x="-304882" y="3583735"/>
            <a:chExt cx="1397665" cy="1419734"/>
          </a:xfrm>
          <a:solidFill>
            <a:srgbClr val="F2C812"/>
          </a:solidFill>
        </p:grpSpPr>
        <p:sp>
          <p:nvSpPr>
            <p:cNvPr id="96" name="Parallelogram 3">
              <a:extLst>
                <a:ext uri="{FF2B5EF4-FFF2-40B4-BE49-F238E27FC236}">
                  <a16:creationId xmlns:a16="http://schemas.microsoft.com/office/drawing/2014/main" id="{9331E2E0-2427-4519-9488-FB89E04876D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7" name="Parallelogram 3">
              <a:extLst>
                <a:ext uri="{FF2B5EF4-FFF2-40B4-BE49-F238E27FC236}">
                  <a16:creationId xmlns:a16="http://schemas.microsoft.com/office/drawing/2014/main" id="{41FEB628-65D4-45AF-A4C8-A5BC8C23D9E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8" name="Parallelogram 3">
              <a:extLst>
                <a:ext uri="{FF2B5EF4-FFF2-40B4-BE49-F238E27FC236}">
                  <a16:creationId xmlns:a16="http://schemas.microsoft.com/office/drawing/2014/main" id="{14AA799D-C5A6-4AA6-8429-FA8E09542B23}"/>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pic>
        <p:nvPicPr>
          <p:cNvPr id="81" name="Picture 80">
            <a:hlinkClick r:id="rId5"/>
            <a:extLst>
              <a:ext uri="{FF2B5EF4-FFF2-40B4-BE49-F238E27FC236}">
                <a16:creationId xmlns:a16="http://schemas.microsoft.com/office/drawing/2014/main" id="{DC9DB12D-3EAB-4C31-9B66-8A814E327697}"/>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475278" y="561476"/>
            <a:ext cx="2673397" cy="2676358"/>
          </a:xfrm>
          <a:prstGeom prst="rect">
            <a:avLst/>
          </a:prstGeom>
        </p:spPr>
      </p:pic>
    </p:spTree>
    <p:extLst>
      <p:ext uri="{BB962C8B-B14F-4D97-AF65-F5344CB8AC3E}">
        <p14:creationId xmlns:p14="http://schemas.microsoft.com/office/powerpoint/2010/main" val="8814831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A89C086-4B5D-4635-A1DD-9ACF8DACC02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63050693"/>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84">
            <a:extLst>
              <a:ext uri="{FF2B5EF4-FFF2-40B4-BE49-F238E27FC236}">
                <a16:creationId xmlns:a16="http://schemas.microsoft.com/office/drawing/2014/main" id="{2DC1F2EA-C1D5-458B-BDA3-66E7BA317F0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5592"/>
          <a:stretch/>
        </p:blipFill>
        <p:spPr>
          <a:xfrm>
            <a:off x="5608500" y="0"/>
            <a:ext cx="6633399" cy="6858000"/>
          </a:xfrm>
          <a:prstGeom prst="rect">
            <a:avLst/>
          </a:prstGeom>
        </p:spPr>
      </p:pic>
      <p:sp>
        <p:nvSpPr>
          <p:cNvPr id="83" name="Right Triangle 82">
            <a:extLst>
              <a:ext uri="{FF2B5EF4-FFF2-40B4-BE49-F238E27FC236}">
                <a16:creationId xmlns:a16="http://schemas.microsoft.com/office/drawing/2014/main" id="{4A99705D-ACC8-4B61-8A38-0090E2124F7B}"/>
              </a:ext>
            </a:extLst>
          </p:cNvPr>
          <p:cNvSpPr/>
          <p:nvPr/>
        </p:nvSpPr>
        <p:spPr>
          <a:xfrm rot="10800000" flipH="1">
            <a:off x="5608502"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8FD5"/>
                </a:solidFill>
                <a:effectLst/>
                <a:uLnTx/>
                <a:uFillTx/>
                <a:latin typeface="Segoe UI"/>
                <a:cs typeface="Segoe UI Light" charset="0"/>
              </a:rPr>
              <a:t>Trainer - Dashboard in A Day @BrowardCollege</a:t>
            </a:r>
          </a:p>
        </p:txBody>
      </p:sp>
      <p:grpSp>
        <p:nvGrpSpPr>
          <p:cNvPr id="47" name="Group 46">
            <a:extLst>
              <a:ext uri="{FF2B5EF4-FFF2-40B4-BE49-F238E27FC236}">
                <a16:creationId xmlns:a16="http://schemas.microsoft.com/office/drawing/2014/main" id="{F803B47C-DE46-44B2-97EB-529D513C62BA}"/>
              </a:ext>
            </a:extLst>
          </p:cNvPr>
          <p:cNvGrpSpPr/>
          <p:nvPr/>
        </p:nvGrpSpPr>
        <p:grpSpPr>
          <a:xfrm>
            <a:off x="597727" y="4921953"/>
            <a:ext cx="1458923" cy="233753"/>
            <a:chOff x="916611" y="5032571"/>
            <a:chExt cx="1458923" cy="233753"/>
          </a:xfrm>
        </p:grpSpPr>
        <p:sp>
          <p:nvSpPr>
            <p:cNvPr id="48" name="Rectangle 47">
              <a:hlinkClick r:id="rId5" tooltip="http://linkedin.com/in/hiramfleitas"/>
              <a:extLst>
                <a:ext uri="{FF2B5EF4-FFF2-40B4-BE49-F238E27FC236}">
                  <a16:creationId xmlns:a16="http://schemas.microsoft.com/office/drawing/2014/main" id="{995AAF8B-F495-40FD-8647-A6AFFF907935}"/>
                </a:ext>
              </a:extLst>
            </p:cNvPr>
            <p:cNvSpPr/>
            <p:nvPr/>
          </p:nvSpPr>
          <p:spPr>
            <a:xfrm>
              <a:off x="1144915" y="5032574"/>
              <a:ext cx="1230619"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49" name="Group 48">
              <a:extLst>
                <a:ext uri="{FF2B5EF4-FFF2-40B4-BE49-F238E27FC236}">
                  <a16:creationId xmlns:a16="http://schemas.microsoft.com/office/drawing/2014/main" id="{5E1370DD-9B73-46F0-9091-541BAB1D6C52}"/>
                </a:ext>
              </a:extLst>
            </p:cNvPr>
            <p:cNvGrpSpPr/>
            <p:nvPr/>
          </p:nvGrpSpPr>
          <p:grpSpPr>
            <a:xfrm>
              <a:off x="916611" y="5032571"/>
              <a:ext cx="231058" cy="231058"/>
              <a:chOff x="3348740" y="4138863"/>
              <a:chExt cx="229600" cy="229600"/>
            </a:xfrm>
          </p:grpSpPr>
          <p:sp>
            <p:nvSpPr>
              <p:cNvPr id="50" name="Rounded Rectangle 94">
                <a:extLst>
                  <a:ext uri="{FF2B5EF4-FFF2-40B4-BE49-F238E27FC236}">
                    <a16:creationId xmlns:a16="http://schemas.microsoft.com/office/drawing/2014/main" id="{02433471-3415-48DA-B8C4-FD8832501957}"/>
                  </a:ext>
                </a:extLst>
              </p:cNvPr>
              <p:cNvSpPr/>
              <p:nvPr/>
            </p:nvSpPr>
            <p:spPr>
              <a:xfrm>
                <a:off x="3348740" y="4138863"/>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nvGrpSpPr>
              <p:cNvPr id="51" name="Group 1216">
                <a:extLst>
                  <a:ext uri="{FF2B5EF4-FFF2-40B4-BE49-F238E27FC236}">
                    <a16:creationId xmlns:a16="http://schemas.microsoft.com/office/drawing/2014/main" id="{8D308615-5827-4915-B28D-A14F65D33EC9}"/>
                  </a:ext>
                </a:extLst>
              </p:cNvPr>
              <p:cNvGrpSpPr>
                <a:grpSpLocks/>
              </p:cNvGrpSpPr>
              <p:nvPr/>
            </p:nvGrpSpPr>
            <p:grpSpPr bwMode="auto">
              <a:xfrm>
                <a:off x="3416337" y="4197351"/>
                <a:ext cx="101582" cy="101580"/>
                <a:chOff x="8400256" y="3573016"/>
                <a:chExt cx="423863" cy="422275"/>
              </a:xfrm>
              <a:solidFill>
                <a:sysClr val="windowText" lastClr="000000"/>
              </a:solidFill>
            </p:grpSpPr>
            <p:sp>
              <p:nvSpPr>
                <p:cNvPr id="52" name="Oval 315">
                  <a:extLst>
                    <a:ext uri="{FF2B5EF4-FFF2-40B4-BE49-F238E27FC236}">
                      <a16:creationId xmlns:a16="http://schemas.microsoft.com/office/drawing/2014/main" id="{688C5E3C-ED3E-48D1-BA0A-84D5475DD769}"/>
                    </a:ext>
                  </a:extLst>
                </p:cNvPr>
                <p:cNvSpPr>
                  <a:spLocks noChangeArrowheads="1"/>
                </p:cNvSpPr>
                <p:nvPr/>
              </p:nvSpPr>
              <p:spPr bwMode="auto">
                <a:xfrm>
                  <a:off x="8400256" y="3573016"/>
                  <a:ext cx="103188" cy="101600"/>
                </a:xfrm>
                <a:prstGeom prst="ellipse">
                  <a:avLst/>
                </a:pr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3" name="Rectangle 316">
                  <a:extLst>
                    <a:ext uri="{FF2B5EF4-FFF2-40B4-BE49-F238E27FC236}">
                      <a16:creationId xmlns:a16="http://schemas.microsoft.com/office/drawing/2014/main" id="{D680F83A-CFC2-4EB8-9268-598FA27667FC}"/>
                    </a:ext>
                  </a:extLst>
                </p:cNvPr>
                <p:cNvSpPr>
                  <a:spLocks noChangeArrowheads="1"/>
                </p:cNvSpPr>
                <p:nvPr/>
              </p:nvSpPr>
              <p:spPr bwMode="auto">
                <a:xfrm>
                  <a:off x="8408194" y="3714304"/>
                  <a:ext cx="87313" cy="280987"/>
                </a:xfrm>
                <a:prstGeom prst="rect">
                  <a:avLst/>
                </a:prstGeom>
                <a:solidFill>
                  <a:srgbClr val="E7E6E6">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4" name="Freeform 317">
                  <a:extLst>
                    <a:ext uri="{FF2B5EF4-FFF2-40B4-BE49-F238E27FC236}">
                      <a16:creationId xmlns:a16="http://schemas.microsoft.com/office/drawing/2014/main" id="{91BB60A7-79EB-4366-9D35-4EC3C6ACE70E}"/>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grpSp>
        <p:nvGrpSpPr>
          <p:cNvPr id="55" name="Group 54">
            <a:extLst>
              <a:ext uri="{FF2B5EF4-FFF2-40B4-BE49-F238E27FC236}">
                <a16:creationId xmlns:a16="http://schemas.microsoft.com/office/drawing/2014/main" id="{FE3DE7FC-4769-465F-9EBC-99D797CCFFC1}"/>
              </a:ext>
            </a:extLst>
          </p:cNvPr>
          <p:cNvGrpSpPr/>
          <p:nvPr/>
        </p:nvGrpSpPr>
        <p:grpSpPr>
          <a:xfrm>
            <a:off x="3075001" y="5534097"/>
            <a:ext cx="2605638" cy="234212"/>
            <a:chOff x="916611" y="5642874"/>
            <a:chExt cx="2605638" cy="234212"/>
          </a:xfrm>
        </p:grpSpPr>
        <p:sp>
          <p:nvSpPr>
            <p:cNvPr id="56" name="Rectangle 55">
              <a:hlinkClick r:id="rId6" tooltip="mailto:hiram@fleitasarts.com"/>
              <a:extLst>
                <a:ext uri="{FF2B5EF4-FFF2-40B4-BE49-F238E27FC236}">
                  <a16:creationId xmlns:a16="http://schemas.microsoft.com/office/drawing/2014/main" id="{56C59029-46EC-4FF8-BDC8-1433224720D6}"/>
                </a:ext>
              </a:extLst>
            </p:cNvPr>
            <p:cNvSpPr/>
            <p:nvPr/>
          </p:nvSpPr>
          <p:spPr>
            <a:xfrm>
              <a:off x="1144915" y="5642874"/>
              <a:ext cx="2377334" cy="22838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rts.com</a:t>
              </a:r>
            </a:p>
          </p:txBody>
        </p:sp>
        <p:grpSp>
          <p:nvGrpSpPr>
            <p:cNvPr id="57" name="Group 56">
              <a:extLst>
                <a:ext uri="{FF2B5EF4-FFF2-40B4-BE49-F238E27FC236}">
                  <a16:creationId xmlns:a16="http://schemas.microsoft.com/office/drawing/2014/main" id="{F10A4E5A-920E-4B40-B879-78DD5CE2DC30}"/>
                </a:ext>
              </a:extLst>
            </p:cNvPr>
            <p:cNvGrpSpPr/>
            <p:nvPr/>
          </p:nvGrpSpPr>
          <p:grpSpPr>
            <a:xfrm>
              <a:off x="916611" y="5647021"/>
              <a:ext cx="228305" cy="230065"/>
              <a:chOff x="5411896" y="3267111"/>
              <a:chExt cx="229600" cy="229600"/>
            </a:xfrm>
          </p:grpSpPr>
          <p:sp>
            <p:nvSpPr>
              <p:cNvPr id="58" name="Rounded Rectangle 16">
                <a:extLst>
                  <a:ext uri="{FF2B5EF4-FFF2-40B4-BE49-F238E27FC236}">
                    <a16:creationId xmlns:a16="http://schemas.microsoft.com/office/drawing/2014/main" id="{EE13E131-DFE9-4BB7-BAA7-BBE736931298}"/>
                  </a:ext>
                </a:extLst>
              </p:cNvPr>
              <p:cNvSpPr/>
              <p:nvPr/>
            </p:nvSpPr>
            <p:spPr>
              <a:xfrm>
                <a:off x="5411896" y="3267111"/>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sp>
            <p:nvSpPr>
              <p:cNvPr id="59" name="Freeform 77">
                <a:extLst>
                  <a:ext uri="{FF2B5EF4-FFF2-40B4-BE49-F238E27FC236}">
                    <a16:creationId xmlns:a16="http://schemas.microsoft.com/office/drawing/2014/main" id="{B48CA059-5D86-41DA-9E8E-0E167EF46BE4}"/>
                  </a:ext>
                </a:extLst>
              </p:cNvPr>
              <p:cNvSpPr>
                <a:spLocks noEditPoints="1"/>
              </p:cNvSpPr>
              <p:nvPr/>
            </p:nvSpPr>
            <p:spPr bwMode="auto">
              <a:xfrm>
                <a:off x="5475078" y="3347294"/>
                <a:ext cx="110250" cy="75652"/>
              </a:xfrm>
              <a:custGeom>
                <a:avLst/>
                <a:gdLst>
                  <a:gd name="T0" fmla="*/ 638267519 w 216"/>
                  <a:gd name="T1" fmla="*/ 0 h 149"/>
                  <a:gd name="T2" fmla="*/ 27751602 w 216"/>
                  <a:gd name="T3" fmla="*/ 0 h 149"/>
                  <a:gd name="T4" fmla="*/ 0 w 216"/>
                  <a:gd name="T5" fmla="*/ 27555164 h 149"/>
                  <a:gd name="T6" fmla="*/ 0 w 216"/>
                  <a:gd name="T7" fmla="*/ 428642686 h 149"/>
                  <a:gd name="T8" fmla="*/ 27751602 w 216"/>
                  <a:gd name="T9" fmla="*/ 456197851 h 149"/>
                  <a:gd name="T10" fmla="*/ 638267519 w 216"/>
                  <a:gd name="T11" fmla="*/ 456197851 h 149"/>
                  <a:gd name="T12" fmla="*/ 666017365 w 216"/>
                  <a:gd name="T13" fmla="*/ 428642686 h 149"/>
                  <a:gd name="T14" fmla="*/ 666017365 w 216"/>
                  <a:gd name="T15" fmla="*/ 27555164 h 149"/>
                  <a:gd name="T16" fmla="*/ 638267519 w 216"/>
                  <a:gd name="T17" fmla="*/ 0 h 149"/>
                  <a:gd name="T18" fmla="*/ 434761628 w 216"/>
                  <a:gd name="T19" fmla="*/ 244938678 h 149"/>
                  <a:gd name="T20" fmla="*/ 616683135 w 216"/>
                  <a:gd name="T21" fmla="*/ 382716247 h 149"/>
                  <a:gd name="T22" fmla="*/ 619765866 w 216"/>
                  <a:gd name="T23" fmla="*/ 401087522 h 149"/>
                  <a:gd name="T24" fmla="*/ 604348700 w 216"/>
                  <a:gd name="T25" fmla="*/ 407210115 h 149"/>
                  <a:gd name="T26" fmla="*/ 410094513 w 216"/>
                  <a:gd name="T27" fmla="*/ 269432546 h 149"/>
                  <a:gd name="T28" fmla="*/ 403927296 w 216"/>
                  <a:gd name="T29" fmla="*/ 269432546 h 149"/>
                  <a:gd name="T30" fmla="*/ 345343118 w 216"/>
                  <a:gd name="T31" fmla="*/ 315358985 h 149"/>
                  <a:gd name="T32" fmla="*/ 333008682 w 216"/>
                  <a:gd name="T33" fmla="*/ 318420281 h 149"/>
                  <a:gd name="T34" fmla="*/ 320674247 w 216"/>
                  <a:gd name="T35" fmla="*/ 315358985 h 149"/>
                  <a:gd name="T36" fmla="*/ 259007338 w 216"/>
                  <a:gd name="T37" fmla="*/ 266371249 h 149"/>
                  <a:gd name="T38" fmla="*/ 255922851 w 216"/>
                  <a:gd name="T39" fmla="*/ 266371249 h 149"/>
                  <a:gd name="T40" fmla="*/ 61668665 w 216"/>
                  <a:gd name="T41" fmla="*/ 407210115 h 149"/>
                  <a:gd name="T42" fmla="*/ 43167011 w 216"/>
                  <a:gd name="T43" fmla="*/ 401087522 h 149"/>
                  <a:gd name="T44" fmla="*/ 46251499 w 216"/>
                  <a:gd name="T45" fmla="*/ 382716247 h 149"/>
                  <a:gd name="T46" fmla="*/ 231255737 w 216"/>
                  <a:gd name="T47" fmla="*/ 247999974 h 149"/>
                  <a:gd name="T48" fmla="*/ 231255737 w 216"/>
                  <a:gd name="T49" fmla="*/ 241877381 h 149"/>
                  <a:gd name="T50" fmla="*/ 43167011 w 216"/>
                  <a:gd name="T51" fmla="*/ 73481603 h 149"/>
                  <a:gd name="T52" fmla="*/ 37001550 w 216"/>
                  <a:gd name="T53" fmla="*/ 52049032 h 149"/>
                  <a:gd name="T54" fmla="*/ 49334229 w 216"/>
                  <a:gd name="T55" fmla="*/ 45926439 h 149"/>
                  <a:gd name="T56" fmla="*/ 58584178 w 216"/>
                  <a:gd name="T57" fmla="*/ 48987736 h 149"/>
                  <a:gd name="T58" fmla="*/ 326841464 w 216"/>
                  <a:gd name="T59" fmla="*/ 281679480 h 149"/>
                  <a:gd name="T60" fmla="*/ 333008682 w 216"/>
                  <a:gd name="T61" fmla="*/ 281679480 h 149"/>
                  <a:gd name="T62" fmla="*/ 339175900 w 216"/>
                  <a:gd name="T63" fmla="*/ 281679480 h 149"/>
                  <a:gd name="T64" fmla="*/ 604348700 w 216"/>
                  <a:gd name="T65" fmla="*/ 48987736 h 149"/>
                  <a:gd name="T66" fmla="*/ 613598648 w 216"/>
                  <a:gd name="T67" fmla="*/ 45926439 h 149"/>
                  <a:gd name="T68" fmla="*/ 625933084 w 216"/>
                  <a:gd name="T69" fmla="*/ 52049032 h 149"/>
                  <a:gd name="T70" fmla="*/ 622850353 w 216"/>
                  <a:gd name="T71" fmla="*/ 73481603 h 149"/>
                  <a:gd name="T72" fmla="*/ 434761628 w 216"/>
                  <a:gd name="T73" fmla="*/ 241877381 h 149"/>
                  <a:gd name="T74" fmla="*/ 434761628 w 216"/>
                  <a:gd name="T75" fmla="*/ 244938678 h 1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6" h="149">
                    <a:moveTo>
                      <a:pt x="207" y="0"/>
                    </a:moveTo>
                    <a:cubicBezTo>
                      <a:pt x="9" y="0"/>
                      <a:pt x="9" y="0"/>
                      <a:pt x="9" y="0"/>
                    </a:cubicBezTo>
                    <a:cubicBezTo>
                      <a:pt x="4" y="0"/>
                      <a:pt x="0" y="4"/>
                      <a:pt x="0" y="9"/>
                    </a:cubicBezTo>
                    <a:cubicBezTo>
                      <a:pt x="0" y="140"/>
                      <a:pt x="0" y="140"/>
                      <a:pt x="0" y="140"/>
                    </a:cubicBezTo>
                    <a:cubicBezTo>
                      <a:pt x="0" y="144"/>
                      <a:pt x="4" y="149"/>
                      <a:pt x="9" y="149"/>
                    </a:cubicBezTo>
                    <a:cubicBezTo>
                      <a:pt x="207" y="149"/>
                      <a:pt x="207" y="149"/>
                      <a:pt x="207" y="149"/>
                    </a:cubicBezTo>
                    <a:cubicBezTo>
                      <a:pt x="212" y="149"/>
                      <a:pt x="216" y="144"/>
                      <a:pt x="216" y="140"/>
                    </a:cubicBezTo>
                    <a:cubicBezTo>
                      <a:pt x="216" y="9"/>
                      <a:pt x="216" y="9"/>
                      <a:pt x="216" y="9"/>
                    </a:cubicBezTo>
                    <a:cubicBezTo>
                      <a:pt x="216" y="4"/>
                      <a:pt x="212" y="0"/>
                      <a:pt x="207" y="0"/>
                    </a:cubicBezTo>
                    <a:close/>
                    <a:moveTo>
                      <a:pt x="141" y="80"/>
                    </a:moveTo>
                    <a:cubicBezTo>
                      <a:pt x="157" y="92"/>
                      <a:pt x="200" y="125"/>
                      <a:pt x="200" y="125"/>
                    </a:cubicBezTo>
                    <a:cubicBezTo>
                      <a:pt x="202" y="126"/>
                      <a:pt x="202" y="129"/>
                      <a:pt x="201" y="131"/>
                    </a:cubicBezTo>
                    <a:cubicBezTo>
                      <a:pt x="200" y="133"/>
                      <a:pt x="198" y="134"/>
                      <a:pt x="196" y="133"/>
                    </a:cubicBezTo>
                    <a:cubicBezTo>
                      <a:pt x="196" y="133"/>
                      <a:pt x="150" y="100"/>
                      <a:pt x="133" y="88"/>
                    </a:cubicBezTo>
                    <a:cubicBezTo>
                      <a:pt x="132" y="87"/>
                      <a:pt x="131" y="88"/>
                      <a:pt x="131" y="88"/>
                    </a:cubicBezTo>
                    <a:cubicBezTo>
                      <a:pt x="112" y="103"/>
                      <a:pt x="112" y="103"/>
                      <a:pt x="112" y="103"/>
                    </a:cubicBezTo>
                    <a:cubicBezTo>
                      <a:pt x="111" y="104"/>
                      <a:pt x="109" y="104"/>
                      <a:pt x="108" y="104"/>
                    </a:cubicBezTo>
                    <a:cubicBezTo>
                      <a:pt x="106" y="104"/>
                      <a:pt x="105" y="104"/>
                      <a:pt x="104" y="103"/>
                    </a:cubicBezTo>
                    <a:cubicBezTo>
                      <a:pt x="84" y="87"/>
                      <a:pt x="84" y="87"/>
                      <a:pt x="84" y="87"/>
                    </a:cubicBezTo>
                    <a:cubicBezTo>
                      <a:pt x="84" y="87"/>
                      <a:pt x="84" y="87"/>
                      <a:pt x="83" y="87"/>
                    </a:cubicBezTo>
                    <a:cubicBezTo>
                      <a:pt x="66" y="99"/>
                      <a:pt x="20" y="133"/>
                      <a:pt x="20" y="133"/>
                    </a:cubicBezTo>
                    <a:cubicBezTo>
                      <a:pt x="18" y="134"/>
                      <a:pt x="15" y="133"/>
                      <a:pt x="14" y="131"/>
                    </a:cubicBezTo>
                    <a:cubicBezTo>
                      <a:pt x="13" y="129"/>
                      <a:pt x="14" y="126"/>
                      <a:pt x="15" y="125"/>
                    </a:cubicBezTo>
                    <a:cubicBezTo>
                      <a:pt x="15" y="125"/>
                      <a:pt x="58" y="92"/>
                      <a:pt x="75" y="81"/>
                    </a:cubicBezTo>
                    <a:cubicBezTo>
                      <a:pt x="76" y="80"/>
                      <a:pt x="75" y="79"/>
                      <a:pt x="75" y="79"/>
                    </a:cubicBezTo>
                    <a:cubicBezTo>
                      <a:pt x="14" y="24"/>
                      <a:pt x="14" y="24"/>
                      <a:pt x="14" y="24"/>
                    </a:cubicBezTo>
                    <a:cubicBezTo>
                      <a:pt x="12" y="23"/>
                      <a:pt x="11" y="19"/>
                      <a:pt x="12" y="17"/>
                    </a:cubicBezTo>
                    <a:cubicBezTo>
                      <a:pt x="13" y="16"/>
                      <a:pt x="15" y="15"/>
                      <a:pt x="16" y="15"/>
                    </a:cubicBezTo>
                    <a:cubicBezTo>
                      <a:pt x="17" y="15"/>
                      <a:pt x="18" y="15"/>
                      <a:pt x="19" y="16"/>
                    </a:cubicBezTo>
                    <a:cubicBezTo>
                      <a:pt x="106" y="92"/>
                      <a:pt x="106" y="92"/>
                      <a:pt x="106" y="92"/>
                    </a:cubicBezTo>
                    <a:cubicBezTo>
                      <a:pt x="106" y="92"/>
                      <a:pt x="107" y="92"/>
                      <a:pt x="108" y="92"/>
                    </a:cubicBezTo>
                    <a:cubicBezTo>
                      <a:pt x="109" y="92"/>
                      <a:pt x="109" y="92"/>
                      <a:pt x="110" y="92"/>
                    </a:cubicBezTo>
                    <a:cubicBezTo>
                      <a:pt x="196" y="16"/>
                      <a:pt x="196" y="16"/>
                      <a:pt x="196" y="16"/>
                    </a:cubicBezTo>
                    <a:cubicBezTo>
                      <a:pt x="197" y="15"/>
                      <a:pt x="198" y="15"/>
                      <a:pt x="199" y="15"/>
                    </a:cubicBezTo>
                    <a:cubicBezTo>
                      <a:pt x="201" y="15"/>
                      <a:pt x="202" y="16"/>
                      <a:pt x="203" y="17"/>
                    </a:cubicBezTo>
                    <a:cubicBezTo>
                      <a:pt x="205" y="19"/>
                      <a:pt x="204" y="23"/>
                      <a:pt x="202" y="24"/>
                    </a:cubicBezTo>
                    <a:cubicBezTo>
                      <a:pt x="141" y="79"/>
                      <a:pt x="141" y="79"/>
                      <a:pt x="141" y="79"/>
                    </a:cubicBezTo>
                    <a:cubicBezTo>
                      <a:pt x="141" y="79"/>
                      <a:pt x="140" y="80"/>
                      <a:pt x="141" y="80"/>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nvGrpSpPr>
          <p:cNvPr id="60" name="Group 59">
            <a:extLst>
              <a:ext uri="{FF2B5EF4-FFF2-40B4-BE49-F238E27FC236}">
                <a16:creationId xmlns:a16="http://schemas.microsoft.com/office/drawing/2014/main" id="{7D32629E-C504-4606-AC64-1323A3C9CD24}"/>
              </a:ext>
            </a:extLst>
          </p:cNvPr>
          <p:cNvGrpSpPr/>
          <p:nvPr/>
        </p:nvGrpSpPr>
        <p:grpSpPr>
          <a:xfrm>
            <a:off x="3079816" y="6107615"/>
            <a:ext cx="2237416" cy="307777"/>
            <a:chOff x="4612057" y="5606706"/>
            <a:chExt cx="2237416" cy="307777"/>
          </a:xfrm>
        </p:grpSpPr>
        <p:sp>
          <p:nvSpPr>
            <p:cNvPr id="61" name="TextBox 60">
              <a:hlinkClick r:id="rId7"/>
              <a:extLst>
                <a:ext uri="{FF2B5EF4-FFF2-40B4-BE49-F238E27FC236}">
                  <a16:creationId xmlns:a16="http://schemas.microsoft.com/office/drawing/2014/main" id="{21902800-5D06-4EF7-9F3C-6E290F93612A}"/>
                </a:ext>
              </a:extLst>
            </p:cNvPr>
            <p:cNvSpPr txBox="1"/>
            <p:nvPr/>
          </p:nvSpPr>
          <p:spPr>
            <a:xfrm>
              <a:off x="4837506" y="5606706"/>
              <a:ext cx="20119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fleitasarts.com</a:t>
              </a:r>
            </a:p>
          </p:txBody>
        </p:sp>
        <p:grpSp>
          <p:nvGrpSpPr>
            <p:cNvPr id="62" name="Group 61">
              <a:extLst>
                <a:ext uri="{FF2B5EF4-FFF2-40B4-BE49-F238E27FC236}">
                  <a16:creationId xmlns:a16="http://schemas.microsoft.com/office/drawing/2014/main" id="{775E80F7-532D-4DDF-9DCD-5C0EAC483B36}"/>
                </a:ext>
              </a:extLst>
            </p:cNvPr>
            <p:cNvGrpSpPr/>
            <p:nvPr/>
          </p:nvGrpSpPr>
          <p:grpSpPr>
            <a:xfrm>
              <a:off x="4612057" y="5646984"/>
              <a:ext cx="225452" cy="225452"/>
              <a:chOff x="4145181" y="5645804"/>
              <a:chExt cx="324397" cy="324397"/>
            </a:xfrm>
          </p:grpSpPr>
          <p:pic>
            <p:nvPicPr>
              <p:cNvPr id="63" name="Picture 62">
                <a:extLst>
                  <a:ext uri="{FF2B5EF4-FFF2-40B4-BE49-F238E27FC236}">
                    <a16:creationId xmlns:a16="http://schemas.microsoft.com/office/drawing/2014/main" id="{DED4AC92-2524-4A76-A3F8-A82EE70B8D1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Lst>
              </a:blip>
              <a:stretch>
                <a:fillRect/>
              </a:stretch>
            </p:blipFill>
            <p:spPr>
              <a:xfrm>
                <a:off x="4200728" y="5698875"/>
                <a:ext cx="213302" cy="213302"/>
              </a:xfrm>
              <a:prstGeom prst="rect">
                <a:avLst/>
              </a:prstGeom>
            </p:spPr>
          </p:pic>
          <p:sp>
            <p:nvSpPr>
              <p:cNvPr id="64" name="Rounded Rectangle 92">
                <a:extLst>
                  <a:ext uri="{FF2B5EF4-FFF2-40B4-BE49-F238E27FC236}">
                    <a16:creationId xmlns:a16="http://schemas.microsoft.com/office/drawing/2014/main" id="{48B8BC4A-31DF-4091-845C-45BA556E6E2C}"/>
                  </a:ext>
                </a:extLst>
              </p:cNvPr>
              <p:cNvSpPr/>
              <p:nvPr/>
            </p:nvSpPr>
            <p:spPr>
              <a:xfrm>
                <a:off x="4145181" y="5645804"/>
                <a:ext cx="324397" cy="324397"/>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65" name="Group 64">
            <a:extLst>
              <a:ext uri="{FF2B5EF4-FFF2-40B4-BE49-F238E27FC236}">
                <a16:creationId xmlns:a16="http://schemas.microsoft.com/office/drawing/2014/main" id="{26607094-A0A5-4D23-97A5-4513A6DF0963}"/>
              </a:ext>
            </a:extLst>
          </p:cNvPr>
          <p:cNvGrpSpPr/>
          <p:nvPr/>
        </p:nvGrpSpPr>
        <p:grpSpPr>
          <a:xfrm>
            <a:off x="595239" y="6145708"/>
            <a:ext cx="1461411" cy="235204"/>
            <a:chOff x="5289272" y="5032574"/>
            <a:chExt cx="1461411" cy="235204"/>
          </a:xfrm>
        </p:grpSpPr>
        <p:sp>
          <p:nvSpPr>
            <p:cNvPr id="66" name="Rectangle 65">
              <a:hlinkClick r:id="rId10" tooltip="http://facebook.com/hiramfleitas"/>
              <a:extLst>
                <a:ext uri="{FF2B5EF4-FFF2-40B4-BE49-F238E27FC236}">
                  <a16:creationId xmlns:a16="http://schemas.microsoft.com/office/drawing/2014/main" id="{4EB9233A-0FEC-4EC4-A1FC-1B5DCCD06389}"/>
                </a:ext>
              </a:extLst>
            </p:cNvPr>
            <p:cNvSpPr/>
            <p:nvPr/>
          </p:nvSpPr>
          <p:spPr>
            <a:xfrm>
              <a:off x="5518872" y="5032574"/>
              <a:ext cx="123181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67" name="Group 66">
              <a:extLst>
                <a:ext uri="{FF2B5EF4-FFF2-40B4-BE49-F238E27FC236}">
                  <a16:creationId xmlns:a16="http://schemas.microsoft.com/office/drawing/2014/main" id="{5705EBB6-F820-4B78-A50D-72BA6C5E9AA4}"/>
                </a:ext>
              </a:extLst>
            </p:cNvPr>
            <p:cNvGrpSpPr/>
            <p:nvPr/>
          </p:nvGrpSpPr>
          <p:grpSpPr>
            <a:xfrm>
              <a:off x="5289272" y="5034029"/>
              <a:ext cx="229600" cy="229600"/>
              <a:chOff x="6351804" y="5146675"/>
              <a:chExt cx="353832" cy="353832"/>
            </a:xfrm>
          </p:grpSpPr>
          <p:sp>
            <p:nvSpPr>
              <p:cNvPr id="68" name="Freeform 79">
                <a:extLst>
                  <a:ext uri="{FF2B5EF4-FFF2-40B4-BE49-F238E27FC236}">
                    <a16:creationId xmlns:a16="http://schemas.microsoft.com/office/drawing/2014/main" id="{49B0E38F-E0DA-418A-83D8-4FD1E2B5EC90}"/>
                  </a:ext>
                </a:extLst>
              </p:cNvPr>
              <p:cNvSpPr>
                <a:spLocks/>
              </p:cNvSpPr>
              <p:nvPr/>
            </p:nvSpPr>
            <p:spPr bwMode="auto">
              <a:xfrm>
                <a:off x="6490692" y="5241925"/>
                <a:ext cx="76056" cy="161920"/>
              </a:xfrm>
              <a:custGeom>
                <a:avLst/>
                <a:gdLst>
                  <a:gd name="T0" fmla="*/ 30 w 30"/>
                  <a:gd name="T1" fmla="*/ 22 h 64"/>
                  <a:gd name="T2" fmla="*/ 19 w 30"/>
                  <a:gd name="T3" fmla="*/ 22 h 64"/>
                  <a:gd name="T4" fmla="*/ 19 w 30"/>
                  <a:gd name="T5" fmla="*/ 14 h 64"/>
                  <a:gd name="T6" fmla="*/ 23 w 30"/>
                  <a:gd name="T7" fmla="*/ 11 h 64"/>
                  <a:gd name="T8" fmla="*/ 30 w 30"/>
                  <a:gd name="T9" fmla="*/ 11 h 64"/>
                  <a:gd name="T10" fmla="*/ 30 w 30"/>
                  <a:gd name="T11" fmla="*/ 0 h 64"/>
                  <a:gd name="T12" fmla="*/ 22 w 30"/>
                  <a:gd name="T13" fmla="*/ 0 h 64"/>
                  <a:gd name="T14" fmla="*/ 8 w 30"/>
                  <a:gd name="T15" fmla="*/ 13 h 64"/>
                  <a:gd name="T16" fmla="*/ 8 w 30"/>
                  <a:gd name="T17" fmla="*/ 22 h 64"/>
                  <a:gd name="T18" fmla="*/ 0 w 30"/>
                  <a:gd name="T19" fmla="*/ 22 h 64"/>
                  <a:gd name="T20" fmla="*/ 0 w 30"/>
                  <a:gd name="T21" fmla="*/ 34 h 64"/>
                  <a:gd name="T22" fmla="*/ 8 w 30"/>
                  <a:gd name="T23" fmla="*/ 34 h 64"/>
                  <a:gd name="T24" fmla="*/ 8 w 30"/>
                  <a:gd name="T25" fmla="*/ 64 h 64"/>
                  <a:gd name="T26" fmla="*/ 19 w 30"/>
                  <a:gd name="T27" fmla="*/ 64 h 64"/>
                  <a:gd name="T28" fmla="*/ 19 w 30"/>
                  <a:gd name="T29" fmla="*/ 34 h 64"/>
                  <a:gd name="T30" fmla="*/ 28 w 30"/>
                  <a:gd name="T31" fmla="*/ 34 h 64"/>
                  <a:gd name="T32" fmla="*/ 30 w 30"/>
                  <a:gd name="T33"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30" y="22"/>
                    </a:moveTo>
                    <a:cubicBezTo>
                      <a:pt x="19" y="22"/>
                      <a:pt x="19" y="22"/>
                      <a:pt x="19" y="22"/>
                    </a:cubicBezTo>
                    <a:cubicBezTo>
                      <a:pt x="19" y="14"/>
                      <a:pt x="19" y="14"/>
                      <a:pt x="19" y="14"/>
                    </a:cubicBezTo>
                    <a:cubicBezTo>
                      <a:pt x="19" y="12"/>
                      <a:pt x="22" y="11"/>
                      <a:pt x="23" y="11"/>
                    </a:cubicBezTo>
                    <a:cubicBezTo>
                      <a:pt x="24" y="11"/>
                      <a:pt x="30" y="11"/>
                      <a:pt x="30" y="11"/>
                    </a:cubicBezTo>
                    <a:cubicBezTo>
                      <a:pt x="30" y="0"/>
                      <a:pt x="30" y="0"/>
                      <a:pt x="30" y="0"/>
                    </a:cubicBezTo>
                    <a:cubicBezTo>
                      <a:pt x="22" y="0"/>
                      <a:pt x="22" y="0"/>
                      <a:pt x="22" y="0"/>
                    </a:cubicBezTo>
                    <a:cubicBezTo>
                      <a:pt x="11" y="0"/>
                      <a:pt x="8" y="8"/>
                      <a:pt x="8" y="13"/>
                    </a:cubicBezTo>
                    <a:cubicBezTo>
                      <a:pt x="8" y="22"/>
                      <a:pt x="8" y="22"/>
                      <a:pt x="8" y="22"/>
                    </a:cubicBezTo>
                    <a:cubicBezTo>
                      <a:pt x="0" y="22"/>
                      <a:pt x="0" y="22"/>
                      <a:pt x="0" y="22"/>
                    </a:cubicBezTo>
                    <a:cubicBezTo>
                      <a:pt x="0" y="34"/>
                      <a:pt x="0" y="34"/>
                      <a:pt x="0" y="34"/>
                    </a:cubicBezTo>
                    <a:cubicBezTo>
                      <a:pt x="8" y="34"/>
                      <a:pt x="8" y="34"/>
                      <a:pt x="8" y="34"/>
                    </a:cubicBezTo>
                    <a:cubicBezTo>
                      <a:pt x="8" y="48"/>
                      <a:pt x="8" y="64"/>
                      <a:pt x="8" y="64"/>
                    </a:cubicBezTo>
                    <a:cubicBezTo>
                      <a:pt x="19" y="64"/>
                      <a:pt x="19" y="64"/>
                      <a:pt x="19" y="64"/>
                    </a:cubicBezTo>
                    <a:cubicBezTo>
                      <a:pt x="19" y="64"/>
                      <a:pt x="19" y="48"/>
                      <a:pt x="19" y="34"/>
                    </a:cubicBezTo>
                    <a:cubicBezTo>
                      <a:pt x="28" y="34"/>
                      <a:pt x="28" y="34"/>
                      <a:pt x="28" y="34"/>
                    </a:cubicBezTo>
                    <a:lnTo>
                      <a:pt x="30" y="22"/>
                    </a:lnTo>
                    <a:close/>
                  </a:path>
                </a:pathLst>
              </a:custGeom>
              <a:solidFill>
                <a:srgbClr val="E7E6E6">
                  <a:lumMod val="5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69" name="Rounded Rectangle 89">
                <a:extLst>
                  <a:ext uri="{FF2B5EF4-FFF2-40B4-BE49-F238E27FC236}">
                    <a16:creationId xmlns:a16="http://schemas.microsoft.com/office/drawing/2014/main" id="{EDEB8981-CBF0-492A-8CB3-70668ADF7A04}"/>
                  </a:ext>
                </a:extLst>
              </p:cNvPr>
              <p:cNvSpPr/>
              <p:nvPr/>
            </p:nvSpPr>
            <p:spPr>
              <a:xfrm>
                <a:off x="635180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0" name="Group 69">
            <a:extLst>
              <a:ext uri="{FF2B5EF4-FFF2-40B4-BE49-F238E27FC236}">
                <a16:creationId xmlns:a16="http://schemas.microsoft.com/office/drawing/2014/main" id="{D77C9AED-E33B-44D3-85EC-871DABF473A4}"/>
              </a:ext>
            </a:extLst>
          </p:cNvPr>
          <p:cNvGrpSpPr/>
          <p:nvPr/>
        </p:nvGrpSpPr>
        <p:grpSpPr>
          <a:xfrm>
            <a:off x="595239" y="5533105"/>
            <a:ext cx="1624769" cy="236659"/>
            <a:chOff x="3100869" y="5032574"/>
            <a:chExt cx="1624769" cy="236659"/>
          </a:xfrm>
        </p:grpSpPr>
        <p:sp>
          <p:nvSpPr>
            <p:cNvPr id="71" name="Rectangle 70">
              <a:hlinkClick r:id="rId11" tooltip="http://twitter.com/hiramfleitas"/>
              <a:extLst>
                <a:ext uri="{FF2B5EF4-FFF2-40B4-BE49-F238E27FC236}">
                  <a16:creationId xmlns:a16="http://schemas.microsoft.com/office/drawing/2014/main" id="{A65D65FE-4091-4C49-9D26-5F7D259157FC}"/>
                </a:ext>
              </a:extLst>
            </p:cNvPr>
            <p:cNvSpPr/>
            <p:nvPr/>
          </p:nvSpPr>
          <p:spPr>
            <a:xfrm>
              <a:off x="3330467" y="5034029"/>
              <a:ext cx="139517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72" name="Group 71">
              <a:extLst>
                <a:ext uri="{FF2B5EF4-FFF2-40B4-BE49-F238E27FC236}">
                  <a16:creationId xmlns:a16="http://schemas.microsoft.com/office/drawing/2014/main" id="{8072C81C-01A5-44AE-9777-75B304131D15}"/>
                </a:ext>
              </a:extLst>
            </p:cNvPr>
            <p:cNvGrpSpPr/>
            <p:nvPr/>
          </p:nvGrpSpPr>
          <p:grpSpPr>
            <a:xfrm>
              <a:off x="3100869" y="5032574"/>
              <a:ext cx="235204" cy="235204"/>
              <a:chOff x="5748554" y="5146675"/>
              <a:chExt cx="353832" cy="353832"/>
            </a:xfrm>
          </p:grpSpPr>
          <p:sp>
            <p:nvSpPr>
              <p:cNvPr id="73" name="Freeform 383">
                <a:extLst>
                  <a:ext uri="{FF2B5EF4-FFF2-40B4-BE49-F238E27FC236}">
                    <a16:creationId xmlns:a16="http://schemas.microsoft.com/office/drawing/2014/main" id="{01AF32AF-09A2-4D5C-BDBA-D456230012F9}"/>
                  </a:ext>
                </a:extLst>
              </p:cNvPr>
              <p:cNvSpPr>
                <a:spLocks/>
              </p:cNvSpPr>
              <p:nvPr/>
            </p:nvSpPr>
            <p:spPr bwMode="auto">
              <a:xfrm>
                <a:off x="5852152" y="5257800"/>
                <a:ext cx="159336" cy="137932"/>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74" name="Rounded Rectangle 92">
                <a:extLst>
                  <a:ext uri="{FF2B5EF4-FFF2-40B4-BE49-F238E27FC236}">
                    <a16:creationId xmlns:a16="http://schemas.microsoft.com/office/drawing/2014/main" id="{B0D2D905-BCC6-43D2-B77F-2F3CA2F38E7B}"/>
                  </a:ext>
                </a:extLst>
              </p:cNvPr>
              <p:cNvSpPr/>
              <p:nvPr/>
            </p:nvSpPr>
            <p:spPr>
              <a:xfrm>
                <a:off x="574855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5" name="Group 74">
            <a:extLst>
              <a:ext uri="{FF2B5EF4-FFF2-40B4-BE49-F238E27FC236}">
                <a16:creationId xmlns:a16="http://schemas.microsoft.com/office/drawing/2014/main" id="{510631CF-8B43-49E1-A62E-13935713BFB9}"/>
              </a:ext>
            </a:extLst>
          </p:cNvPr>
          <p:cNvGrpSpPr/>
          <p:nvPr/>
        </p:nvGrpSpPr>
        <p:grpSpPr>
          <a:xfrm>
            <a:off x="3075001" y="4920877"/>
            <a:ext cx="1414009" cy="233750"/>
            <a:chOff x="916610" y="6243079"/>
            <a:chExt cx="1414009" cy="233750"/>
          </a:xfrm>
        </p:grpSpPr>
        <p:grpSp>
          <p:nvGrpSpPr>
            <p:cNvPr id="76" name="Group 75">
              <a:extLst>
                <a:ext uri="{FF2B5EF4-FFF2-40B4-BE49-F238E27FC236}">
                  <a16:creationId xmlns:a16="http://schemas.microsoft.com/office/drawing/2014/main" id="{258CF70F-9623-4182-9B3D-E2BD7FD2B53C}"/>
                </a:ext>
              </a:extLst>
            </p:cNvPr>
            <p:cNvGrpSpPr/>
            <p:nvPr/>
          </p:nvGrpSpPr>
          <p:grpSpPr>
            <a:xfrm>
              <a:off x="916610" y="6243079"/>
              <a:ext cx="228305" cy="230065"/>
              <a:chOff x="2209175" y="6131321"/>
              <a:chExt cx="228305" cy="230065"/>
            </a:xfrm>
          </p:grpSpPr>
          <p:sp>
            <p:nvSpPr>
              <p:cNvPr id="78" name="Rounded Rectangle 16">
                <a:extLst>
                  <a:ext uri="{FF2B5EF4-FFF2-40B4-BE49-F238E27FC236}">
                    <a16:creationId xmlns:a16="http://schemas.microsoft.com/office/drawing/2014/main" id="{483B904F-A300-45FF-8A26-942C8821BE8B}"/>
                  </a:ext>
                </a:extLst>
              </p:cNvPr>
              <p:cNvSpPr/>
              <p:nvPr/>
            </p:nvSpPr>
            <p:spPr>
              <a:xfrm>
                <a:off x="2209175" y="6131321"/>
                <a:ext cx="228305" cy="230065"/>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pic>
            <p:nvPicPr>
              <p:cNvPr id="79" name="Picture 4" descr="Image result for github logo">
                <a:extLst>
                  <a:ext uri="{FF2B5EF4-FFF2-40B4-BE49-F238E27FC236}">
                    <a16:creationId xmlns:a16="http://schemas.microsoft.com/office/drawing/2014/main" id="{4BFBD07C-B273-4E6F-9C9D-A3C5704FE212}"/>
                  </a:ext>
                </a:extLst>
              </p:cNvPr>
              <p:cNvPicPr>
                <a:picLocks noChangeAspect="1" noChangeArrowheads="1"/>
              </p:cNvPicPr>
              <p:nvPr/>
            </p:nvPicPr>
            <p:blipFill>
              <a:blip r:embed="rId12">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39655" y="6162681"/>
                <a:ext cx="167344" cy="167344"/>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ctangle 76">
              <a:hlinkClick r:id="rId13" tooltip="https://github.com/hfleitas"/>
              <a:extLst>
                <a:ext uri="{FF2B5EF4-FFF2-40B4-BE49-F238E27FC236}">
                  <a16:creationId xmlns:a16="http://schemas.microsoft.com/office/drawing/2014/main" id="{1AB25AFF-2AB0-4EEA-A589-6FC454A95BA2}"/>
                </a:ext>
              </a:extLst>
            </p:cNvPr>
            <p:cNvSpPr/>
            <p:nvPr/>
          </p:nvSpPr>
          <p:spPr>
            <a:xfrm>
              <a:off x="1144915" y="6243079"/>
              <a:ext cx="1185704"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fleitas</a:t>
              </a:r>
            </a:p>
          </p:txBody>
        </p:sp>
      </p:grpSp>
      <p:pic>
        <p:nvPicPr>
          <p:cNvPr id="81" name="Picture 80">
            <a:hlinkClick r:id="rId7"/>
            <a:extLst>
              <a:ext uri="{FF2B5EF4-FFF2-40B4-BE49-F238E27FC236}">
                <a16:creationId xmlns:a16="http://schemas.microsoft.com/office/drawing/2014/main" id="{DC9DB12D-3EAB-4C31-9B66-8A814E327697}"/>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Layer>
                </a14:imgProps>
              </a:ext>
            </a:extLst>
          </a:blip>
          <a:stretch>
            <a:fillRect/>
          </a:stretch>
        </p:blipFill>
        <p:spPr>
          <a:xfrm>
            <a:off x="475278" y="561476"/>
            <a:ext cx="2673397" cy="2676358"/>
          </a:xfrm>
          <a:prstGeom prst="rect">
            <a:avLst/>
          </a:prstGeom>
        </p:spPr>
      </p:pic>
      <p:sp>
        <p:nvSpPr>
          <p:cNvPr id="46" name="TextBox 45">
            <a:extLst>
              <a:ext uri="{FF2B5EF4-FFF2-40B4-BE49-F238E27FC236}">
                <a16:creationId xmlns:a16="http://schemas.microsoft.com/office/drawing/2014/main" id="{2DD615AB-F47C-44FE-977A-EDED68FB3CF2}"/>
              </a:ext>
            </a:extLst>
          </p:cNvPr>
          <p:cNvSpPr txBox="1"/>
          <p:nvPr/>
        </p:nvSpPr>
        <p:spPr>
          <a:xfrm>
            <a:off x="7045378" y="2367075"/>
            <a:ext cx="5115017"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96" name="Parallelogram 1">
            <a:extLst>
              <a:ext uri="{FF2B5EF4-FFF2-40B4-BE49-F238E27FC236}">
                <a16:creationId xmlns:a16="http://schemas.microsoft.com/office/drawing/2014/main" id="{92FEA483-FE5E-45DC-AD9A-0D8CEF62CC19}"/>
              </a:ext>
            </a:extLst>
          </p:cNvPr>
          <p:cNvSpPr/>
          <p:nvPr/>
        </p:nvSpPr>
        <p:spPr>
          <a:xfrm rot="5400000" flipH="1">
            <a:off x="5706954" y="312946"/>
            <a:ext cx="832006" cy="1230953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405D1A6B-CF8E-4C46-A92A-FD2EA163AEAE}"/>
              </a:ext>
            </a:extLst>
          </p:cNvPr>
          <p:cNvGrpSpPr/>
          <p:nvPr/>
        </p:nvGrpSpPr>
        <p:grpSpPr>
          <a:xfrm>
            <a:off x="10500169" y="6310888"/>
            <a:ext cx="1536256" cy="466520"/>
            <a:chOff x="668108" y="601336"/>
            <a:chExt cx="3665655" cy="1113164"/>
          </a:xfrm>
          <a:solidFill>
            <a:schemeClr val="bg2"/>
          </a:solidFill>
        </p:grpSpPr>
        <p:pic>
          <p:nvPicPr>
            <p:cNvPr id="98" name="Picture 97">
              <a:hlinkClick r:id="rId7"/>
              <a:extLst>
                <a:ext uri="{FF2B5EF4-FFF2-40B4-BE49-F238E27FC236}">
                  <a16:creationId xmlns:a16="http://schemas.microsoft.com/office/drawing/2014/main" id="{387B4C12-9D25-43CD-BE14-2ADD84250073}"/>
                </a:ext>
              </a:extLst>
            </p:cNvPr>
            <p:cNvPicPr>
              <a:picLocks noChangeAspect="1"/>
            </p:cNvPicPr>
            <p:nvPr/>
          </p:nvPicPr>
          <p:blipFill>
            <a:blip r:embed="rId16"/>
            <a:stretch>
              <a:fillRect/>
            </a:stretch>
          </p:blipFill>
          <p:spPr>
            <a:xfrm>
              <a:off x="668108" y="601336"/>
              <a:ext cx="1151971" cy="1113164"/>
            </a:xfrm>
            <a:prstGeom prst="rect">
              <a:avLst/>
            </a:prstGeom>
            <a:grpFill/>
          </p:spPr>
        </p:pic>
        <p:pic>
          <p:nvPicPr>
            <p:cNvPr id="99" name="Picture 98">
              <a:hlinkClick r:id="rId7"/>
              <a:extLst>
                <a:ext uri="{FF2B5EF4-FFF2-40B4-BE49-F238E27FC236}">
                  <a16:creationId xmlns:a16="http://schemas.microsoft.com/office/drawing/2014/main" id="{72901AE0-2E2D-4E1A-A302-05E7B567A04D}"/>
                </a:ext>
              </a:extLst>
            </p:cNvPr>
            <p:cNvPicPr>
              <a:picLocks noChangeAspect="1"/>
            </p:cNvPicPr>
            <p:nvPr/>
          </p:nvPicPr>
          <p:blipFill>
            <a:blip r:embed="rId17"/>
            <a:stretch>
              <a:fillRect/>
            </a:stretch>
          </p:blipFill>
          <p:spPr>
            <a:xfrm>
              <a:off x="1465541" y="1130596"/>
              <a:ext cx="2868222" cy="355013"/>
            </a:xfrm>
            <a:prstGeom prst="rect">
              <a:avLst/>
            </a:prstGeom>
            <a:grpFill/>
          </p:spPr>
        </p:pic>
      </p:grpSp>
      <p:grpSp>
        <p:nvGrpSpPr>
          <p:cNvPr id="80" name="Group 79">
            <a:extLst>
              <a:ext uri="{FF2B5EF4-FFF2-40B4-BE49-F238E27FC236}">
                <a16:creationId xmlns:a16="http://schemas.microsoft.com/office/drawing/2014/main" id="{DAAA0EDB-6231-4ADE-9FEA-CE202EE97CD7}"/>
              </a:ext>
            </a:extLst>
          </p:cNvPr>
          <p:cNvGrpSpPr/>
          <p:nvPr/>
        </p:nvGrpSpPr>
        <p:grpSpPr>
          <a:xfrm>
            <a:off x="8677011" y="4852631"/>
            <a:ext cx="1474115" cy="1497392"/>
            <a:chOff x="-304882" y="3583735"/>
            <a:chExt cx="1397665" cy="1419734"/>
          </a:xfrm>
          <a:solidFill>
            <a:srgbClr val="F2C812"/>
          </a:solidFill>
        </p:grpSpPr>
        <p:sp>
          <p:nvSpPr>
            <p:cNvPr id="82" name="Parallelogram 3">
              <a:extLst>
                <a:ext uri="{FF2B5EF4-FFF2-40B4-BE49-F238E27FC236}">
                  <a16:creationId xmlns:a16="http://schemas.microsoft.com/office/drawing/2014/main" id="{6B72ED78-7D20-4637-B286-613E68C64D6F}"/>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4" name="Parallelogram 3">
              <a:extLst>
                <a:ext uri="{FF2B5EF4-FFF2-40B4-BE49-F238E27FC236}">
                  <a16:creationId xmlns:a16="http://schemas.microsoft.com/office/drawing/2014/main" id="{643E1A57-FDA2-4ADE-9FB6-6DFD2FEF2B62}"/>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6" name="Parallelogram 3">
              <a:extLst>
                <a:ext uri="{FF2B5EF4-FFF2-40B4-BE49-F238E27FC236}">
                  <a16:creationId xmlns:a16="http://schemas.microsoft.com/office/drawing/2014/main" id="{C966A6E9-09C0-44AE-BF6E-181D91565B0A}"/>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Tree>
    <p:extLst>
      <p:ext uri="{BB962C8B-B14F-4D97-AF65-F5344CB8AC3E}">
        <p14:creationId xmlns:p14="http://schemas.microsoft.com/office/powerpoint/2010/main" val="412541257"/>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283400-2623-44B7-A556-07CAD81BDD1C}"/>
              </a:ext>
            </a:extLst>
          </p:cNvPr>
          <p:cNvPicPr>
            <a:picLocks noChangeAspect="1"/>
          </p:cNvPicPr>
          <p:nvPr/>
        </p:nvPicPr>
        <p:blipFill>
          <a:blip r:embed="rId3"/>
          <a:stretch>
            <a:fillRect/>
          </a:stretch>
        </p:blipFill>
        <p:spPr>
          <a:xfrm>
            <a:off x="15911" y="1293168"/>
            <a:ext cx="12192000" cy="5928634"/>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BI.com</a:t>
            </a:r>
            <a:endParaRPr lang="en-AU" sz="36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115357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2B6BF16C-E2C4-4178-84EB-D159E7D2B81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76746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E1F8DF2-98AD-4E43-B975-C35C91CA116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7312018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7894BE2-532A-4FBB-B705-EFFEBDB20B8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767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2C683C5-9E4F-4E8C-9F21-6704A67B7F8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743092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059A4CD0-B4FA-47C4-B465-C799B32496A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87708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1C42300D-3726-4928-A3D8-41BF97A76BF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628307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3283912-0D37-4702-9003-DD70647BCE9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570563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CFC1715-F8C3-4E3A-8FA5-69720BBE850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210944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5AB4CF4-985C-4E74-A24F-ED11C04DB7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96914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owerApps</a:t>
            </a:r>
          </a:p>
        </p:txBody>
      </p:sp>
      <p:pic>
        <p:nvPicPr>
          <p:cNvPr id="15" name="Picture 14" descr="A close up of a logo&#10;&#10;Description generated with very high confidence">
            <a:hlinkClick r:id="rId5"/>
            <a:extLst>
              <a:ext uri="{FF2B5EF4-FFF2-40B4-BE49-F238E27FC236}">
                <a16:creationId xmlns:a16="http://schemas.microsoft.com/office/drawing/2014/main" id="{AF197FAA-2BF6-4DF8-8745-44F8EFEF3C5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5017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pic>
        <p:nvPicPr>
          <p:cNvPr id="13" name="Picture 12" descr="A close up of a logo&#10;&#10;Description generated with very high confidence">
            <a:hlinkClick r:id="rId6"/>
            <a:extLst>
              <a:ext uri="{FF2B5EF4-FFF2-40B4-BE49-F238E27FC236}">
                <a16:creationId xmlns:a16="http://schemas.microsoft.com/office/drawing/2014/main" id="{E718D4A7-AA5F-4D81-B57F-51AD18E3AC3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04010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https://pwrappscdn.azureedge.net/cvt-3376f88ecf77a2ae14e64ea4f8a4ee7cd52d6cc1c364c0822c99b4a310a31c00/images/page/cds-apps/hero/hero_1259x472.jpg">
            <a:extLst>
              <a:ext uri="{FF2B5EF4-FFF2-40B4-BE49-F238E27FC236}">
                <a16:creationId xmlns:a16="http://schemas.microsoft.com/office/drawing/2014/main" id="{53DA4290-44A7-47A9-A820-7D8A92EDD26A}"/>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5300"/>
                    </a14:imgEffect>
                    <a14:imgEffect>
                      <a14:saturation sat="66000"/>
                    </a14:imgEffect>
                  </a14:imgLayer>
                </a14:imgProps>
              </a:ext>
              <a:ext uri="{28A0092B-C50C-407E-A947-70E740481C1C}">
                <a14:useLocalDpi xmlns:a14="http://schemas.microsoft.com/office/drawing/2010/main" val="0"/>
              </a:ext>
            </a:extLst>
          </a:blip>
          <a:srcRect l="3335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291151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69F9E276-8090-4703-962F-2B259A6840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682753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9FBD9755-B37F-45E8-99CE-155A4278D5B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820496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A close up of a logo&#10;&#10;Description generated with very high confidence">
            <a:hlinkClick r:id="rId4"/>
            <a:extLst>
              <a:ext uri="{FF2B5EF4-FFF2-40B4-BE49-F238E27FC236}">
                <a16:creationId xmlns:a16="http://schemas.microsoft.com/office/drawing/2014/main" id="{8CF1A4B6-766C-4434-AA30-B1949648552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90952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2810848"/>
            <a:ext cx="914400" cy="914400"/>
          </a:xfrm>
          <a:prstGeom prst="rect">
            <a:avLst/>
          </a:prstGeom>
        </p:spPr>
      </p:pic>
      <p:pic>
        <p:nvPicPr>
          <p:cNvPr id="15" name="Picture 14" descr="A close up of a logo&#10;&#10;Description generated with very high confidence">
            <a:hlinkClick r:id="rId6"/>
            <a:extLst>
              <a:ext uri="{FF2B5EF4-FFF2-40B4-BE49-F238E27FC236}">
                <a16:creationId xmlns:a16="http://schemas.microsoft.com/office/drawing/2014/main" id="{1050372B-B79B-47A9-B658-264E40694AE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150238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EE7F9524-02A8-4626-84D5-E54DA15F9C2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405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190539DB-57A1-44F6-BFED-5966D23042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615837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FC17417C-D256-4FD1-82E2-13158C9ADBD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440224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D6C4950-007A-4A8E-9976-B98F594A784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38442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40125412-8192-422C-92D2-604D8581C16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35720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A close up of a logo&#10;&#10;Description generated with very high confidence">
            <a:hlinkClick r:id="rId4"/>
            <a:extLst>
              <a:ext uri="{FF2B5EF4-FFF2-40B4-BE49-F238E27FC236}">
                <a16:creationId xmlns:a16="http://schemas.microsoft.com/office/drawing/2014/main" id="{DF92C84B-E2A8-47CC-8394-57B8E8C749C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850375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EFFDA1-50FC-4017-BB48-CA46D2E9F884}"/>
              </a:ext>
            </a:extLst>
          </p:cNvPr>
          <p:cNvPicPr>
            <a:picLocks noChangeAspect="1"/>
          </p:cNvPicPr>
          <p:nvPr/>
        </p:nvPicPr>
        <p:blipFill>
          <a:blip r:embed="rId2"/>
          <a:stretch>
            <a:fillRect/>
          </a:stretch>
        </p:blipFill>
        <p:spPr>
          <a:xfrm>
            <a:off x="1122789" y="0"/>
            <a:ext cx="9946422" cy="68580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396038" y="1290590"/>
            <a:ext cx="1145382"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7718798" y="1290590"/>
            <a:ext cx="495300"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391476" y="1290590"/>
            <a:ext cx="352474"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8921328" y="1290590"/>
            <a:ext cx="533823"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9632529" y="1290591"/>
            <a:ext cx="613197"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9570245" y="1480827"/>
            <a:ext cx="675482"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2457450" y="429905"/>
            <a:ext cx="144462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804338" y="1228288"/>
            <a:ext cx="1507187" cy="359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pic>
        <p:nvPicPr>
          <p:cNvPr id="19" name="Picture 18" descr="A close up of a logo&#10;&#10;Description generated with very high confidence">
            <a:hlinkClick r:id="rId10"/>
            <a:extLst>
              <a:ext uri="{FF2B5EF4-FFF2-40B4-BE49-F238E27FC236}">
                <a16:creationId xmlns:a16="http://schemas.microsoft.com/office/drawing/2014/main" id="{63909E4C-36E3-4948-B8F5-73A578CADAB9}"/>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504462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A close up of a logo&#10;&#10;Description generated with very high confidence">
            <a:hlinkClick r:id="rId4"/>
            <a:extLst>
              <a:ext uri="{FF2B5EF4-FFF2-40B4-BE49-F238E27FC236}">
                <a16:creationId xmlns:a16="http://schemas.microsoft.com/office/drawing/2014/main" id="{FFE3289E-DF53-47C8-8FCD-E38BC23F25D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321493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4B9599-400F-46D0-B790-04973D6BA13D}"/>
              </a:ext>
            </a:extLst>
          </p:cNvPr>
          <p:cNvSpPr/>
          <p:nvPr/>
        </p:nvSpPr>
        <p:spPr>
          <a:xfrm>
            <a:off x="724758" y="3476625"/>
            <a:ext cx="761141"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67BED1ED-66A8-4D66-915F-C949B78DF7F2}"/>
              </a:ext>
            </a:extLst>
          </p:cNvPr>
          <p:cNvSpPr/>
          <p:nvPr/>
        </p:nvSpPr>
        <p:spPr>
          <a:xfrm>
            <a:off x="9547860" y="2834641"/>
            <a:ext cx="1158240" cy="186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99EBEF5D-26FA-49C2-A35E-CFDCC56E18F4}"/>
              </a:ext>
            </a:extLst>
          </p:cNvPr>
          <p:cNvSpPr/>
          <p:nvPr/>
        </p:nvSpPr>
        <p:spPr>
          <a:xfrm>
            <a:off x="10702612" y="2598420"/>
            <a:ext cx="506408" cy="2311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4"/>
            <a:extLst>
              <a:ext uri="{FF2B5EF4-FFF2-40B4-BE49-F238E27FC236}">
                <a16:creationId xmlns:a16="http://schemas.microsoft.com/office/drawing/2014/main" id="{29CC6F4B-0088-43F3-906D-A57E0CF04E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326625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10127809" y="5961011"/>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7D2E8567-AEC5-4C9F-B3E1-607BE80572B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0143317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E0BE3B57-CAC6-4FC9-8A88-D50496EFE6D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2616708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2FEB5151-731B-4857-889E-917E78E44943}"/>
              </a:ext>
            </a:extLst>
          </p:cNvPr>
          <p:cNvSpPr/>
          <p:nvPr/>
        </p:nvSpPr>
        <p:spPr>
          <a:xfrm>
            <a:off x="25400" y="1115909"/>
            <a:ext cx="584200" cy="5287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A3D3E5C1-5B88-4CCB-9421-C80D7A9BE5A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2433430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C0645A8-4524-4379-A4F0-7AEF82438EE0}"/>
              </a:ext>
            </a:extLst>
          </p:cNvPr>
          <p:cNvSpPr/>
          <p:nvPr/>
        </p:nvSpPr>
        <p:spPr>
          <a:xfrm>
            <a:off x="10829924" y="2914650"/>
            <a:ext cx="1319213" cy="5143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388321" y="3429000"/>
            <a:ext cx="6228739" cy="3140923"/>
          </a:xfrm>
          <a:prstGeom prst="rect">
            <a:avLst/>
          </a:prstGeom>
        </p:spPr>
      </p:pic>
      <p:pic>
        <p:nvPicPr>
          <p:cNvPr id="13" name="Picture 12" descr="A close up of a logo&#10;&#10;Description generated with very high confidence">
            <a:hlinkClick r:id="rId5"/>
            <a:extLst>
              <a:ext uri="{FF2B5EF4-FFF2-40B4-BE49-F238E27FC236}">
                <a16:creationId xmlns:a16="http://schemas.microsoft.com/office/drawing/2014/main" id="{030B2934-833A-49C5-AECC-46A4D5D3A0B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316448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5ED5DA-5360-4E8A-8B42-50AC0FF12336}"/>
              </a:ext>
            </a:extLst>
          </p:cNvPr>
          <p:cNvSpPr/>
          <p:nvPr/>
        </p:nvSpPr>
        <p:spPr>
          <a:xfrm>
            <a:off x="9542663" y="4388342"/>
            <a:ext cx="1847388" cy="8139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24D8B37D-1525-43A9-B8D6-3EE794A01EF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0581319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683046"/>
            <a:ext cx="4690586" cy="4174954"/>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9542663" y="5577862"/>
            <a:ext cx="192887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28A4292-6B93-4DF0-80AB-645EFA918682}"/>
              </a:ext>
            </a:extLst>
          </p:cNvPr>
          <p:cNvSpPr/>
          <p:nvPr/>
        </p:nvSpPr>
        <p:spPr>
          <a:xfrm>
            <a:off x="3639844" y="3444536"/>
            <a:ext cx="1050741" cy="13316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5"/>
            <a:extLst>
              <a:ext uri="{FF2B5EF4-FFF2-40B4-BE49-F238E27FC236}">
                <a16:creationId xmlns:a16="http://schemas.microsoft.com/office/drawing/2014/main" id="{A6D68F7E-6400-4571-A543-8044ECFEB0A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539476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7646"/>
            <a:ext cx="12192000" cy="68427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3416226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1790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2GPsPMr</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6"/>
            <a:extLst>
              <a:ext uri="{FF2B5EF4-FFF2-40B4-BE49-F238E27FC236}">
                <a16:creationId xmlns:a16="http://schemas.microsoft.com/office/drawing/2014/main" id="{9584D667-E8DA-46ED-B3C9-F5E3347B1D1A}"/>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82396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72232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5"/>
          <a:stretch>
            <a:fillRect/>
          </a:stretch>
        </p:blipFill>
        <p:spPr>
          <a:xfrm>
            <a:off x="3740" y="0"/>
            <a:ext cx="12184520" cy="68580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29621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353281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51174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173989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173512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4292768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62678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668602" y="471475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68605" y="471475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03217" y="5392753"/>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714755"/>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65807" y="607135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8680126" y="4714755"/>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68602" y="5388039"/>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4665807" y="606603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8703217" y="5392753"/>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tias</a:t>
            </a:r>
            <a:endParaRPr lang="en-US" sz="2000" dirty="0"/>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4668602" y="5390834"/>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1754326"/>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BI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Flotilla Staff Officer</a:t>
            </a:r>
          </a:p>
        </p:txBody>
      </p:sp>
      <p:pic>
        <p:nvPicPr>
          <p:cNvPr id="6148" name="Picture 4" descr="Exam 778: Analyzing and Visualizing Data with Power BI">
            <a:hlinkClick r:id="rId17"/>
            <a:extLst>
              <a:ext uri="{FF2B5EF4-FFF2-40B4-BE49-F238E27FC236}">
                <a16:creationId xmlns:a16="http://schemas.microsoft.com/office/drawing/2014/main" id="{4187437D-323F-4A81-85D0-9BDBF7C4496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547755" y="3220618"/>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Microsoft Certified: Azure Administrator Associate">
            <a:hlinkClick r:id="rId19"/>
            <a:extLst>
              <a:ext uri="{FF2B5EF4-FFF2-40B4-BE49-F238E27FC236}">
                <a16:creationId xmlns:a16="http://schemas.microsoft.com/office/drawing/2014/main" id="{6AF51C46-7411-4A1C-89DE-4E5DFF37342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79848" y="3220619"/>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Microsoft Certified: Azure AI Engineer Associate">
            <a:hlinkClick r:id="rId21"/>
            <a:extLst>
              <a:ext uri="{FF2B5EF4-FFF2-40B4-BE49-F238E27FC236}">
                <a16:creationId xmlns:a16="http://schemas.microsoft.com/office/drawing/2014/main" id="{AD3D6472-F6D2-4B97-8B73-9A46280F7B0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011941" y="3220620"/>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close up of a logo&#10;&#10;Description generated with very high confidence">
            <a:hlinkClick r:id="rId5"/>
            <a:extLst>
              <a:ext uri="{FF2B5EF4-FFF2-40B4-BE49-F238E27FC236}">
                <a16:creationId xmlns:a16="http://schemas.microsoft.com/office/drawing/2014/main" id="{534A5AFF-DD15-4DAD-B7C5-0406FAA7F2EF}"/>
              </a:ext>
            </a:extLst>
          </p:cNvPr>
          <p:cNvPicPr>
            <a:picLocks noChangeAspect="1"/>
          </p:cNvPicPr>
          <p:nvPr/>
        </p:nvPicPr>
        <p:blipFill rotWithShape="1">
          <a:blip r:embed="rId2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1178718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448209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47765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6015289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582569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4845160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7970838" y="3581795"/>
            <a:ext cx="914400" cy="9144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1246992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7939114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5257156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3253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4749907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5623" y="0"/>
            <a:ext cx="12180753"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939671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1783330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10012"/>
            <a:ext cx="12192000" cy="683797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9542663" y="3175000"/>
            <a:ext cx="2594568" cy="2849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1211190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703957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580"/>
            <a:ext cx="12192000" cy="685483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3035331" y="2331622"/>
            <a:ext cx="1092786" cy="420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767365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3234430" y="1961965"/>
            <a:ext cx="1903706" cy="195309"/>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3241272" y="2157275"/>
            <a:ext cx="1890022" cy="1011846"/>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3234429" y="3169120"/>
            <a:ext cx="2918721" cy="1058129"/>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ADB7B66-7F14-46AD-8CCA-55DCA1B47F37}"/>
              </a:ext>
            </a:extLst>
          </p:cNvPr>
          <p:cNvSpPr txBox="1"/>
          <p:nvPr/>
        </p:nvSpPr>
        <p:spPr>
          <a:xfrm>
            <a:off x="5131294" y="2493921"/>
            <a:ext cx="1050288" cy="338554"/>
          </a:xfrm>
          <a:prstGeom prst="rect">
            <a:avLst/>
          </a:prstGeom>
          <a:noFill/>
        </p:spPr>
        <p:txBody>
          <a:bodyPr wrap="none" rtlCol="0">
            <a:spAutoFit/>
          </a:bodyPr>
          <a:lstStyle/>
          <a:p>
            <a:r>
              <a:rPr lang="en-US" sz="16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6153150" y="3528907"/>
            <a:ext cx="1289050" cy="338554"/>
          </a:xfrm>
          <a:prstGeom prst="rect">
            <a:avLst/>
          </a:prstGeom>
          <a:noFill/>
        </p:spPr>
        <p:txBody>
          <a:bodyPr wrap="square" rtlCol="0">
            <a:spAutoFit/>
          </a:bodyPr>
          <a:lstStyle/>
          <a:p>
            <a:r>
              <a:rPr lang="en-US" sz="1600" dirty="0">
                <a:solidFill>
                  <a:srgbClr val="FF0000"/>
                </a:solidFill>
                <a:latin typeface="Segoe UI" panose="020B0502040204020203" pitchFamily="34" charset="0"/>
                <a:cs typeface="Segoe UI" panose="020B0502040204020203" pitchFamily="34" charset="0"/>
              </a:rPr>
              <a:t>Else false</a:t>
            </a:r>
            <a:endParaRPr lang="en-US" sz="16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5131294" y="1890342"/>
            <a:ext cx="931152" cy="338554"/>
          </a:xfrm>
          <a:prstGeom prst="rect">
            <a:avLst/>
          </a:prstGeom>
          <a:noFill/>
        </p:spPr>
        <p:txBody>
          <a:bodyPr wrap="none" rtlCol="0">
            <a:spAutoFit/>
          </a:bodyPr>
          <a:lstStyle/>
          <a:p>
            <a:r>
              <a:rPr lang="en-US" sz="16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3044207" y="1754572"/>
            <a:ext cx="4670487" cy="436214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445097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3586579" y="4838330"/>
            <a:ext cx="4128115" cy="10475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0644218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855585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470107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86F8E829-CF36-4936-9364-177AEE8CA860}"/>
              </a:ext>
            </a:extLst>
          </p:cNvPr>
          <p:cNvGrpSpPr/>
          <p:nvPr/>
        </p:nvGrpSpPr>
        <p:grpSpPr>
          <a:xfrm>
            <a:off x="3798333" y="-96314"/>
            <a:ext cx="10476219" cy="6976015"/>
            <a:chOff x="3798333" y="-96314"/>
            <a:chExt cx="10476219" cy="6976015"/>
          </a:xfrm>
        </p:grpSpPr>
        <p:pic>
          <p:nvPicPr>
            <p:cNvPr id="73" name="Picture 4">
              <a:extLst>
                <a:ext uri="{FF2B5EF4-FFF2-40B4-BE49-F238E27FC236}">
                  <a16:creationId xmlns:a16="http://schemas.microsoft.com/office/drawing/2014/main" id="{AF73F6D9-BF67-43EE-A202-F48AFF643A70}"/>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a:extLst>
                <a:ext uri="{FF2B5EF4-FFF2-40B4-BE49-F238E27FC236}">
                  <a16:creationId xmlns:a16="http://schemas.microsoft.com/office/drawing/2014/main" id="{53997D6B-6D6D-4604-8F23-260C5E482404}"/>
                </a:ext>
              </a:extLst>
            </p:cNvPr>
            <p:cNvPicPr>
              <a:picLocks noChangeAspect="1"/>
            </p:cNvPicPr>
            <p:nvPr/>
          </p:nvPicPr>
          <p:blipFill>
            <a:blip r:embed="rId4"/>
            <a:stretch>
              <a:fillRect/>
            </a:stretch>
          </p:blipFill>
          <p:spPr>
            <a:xfrm>
              <a:off x="5176706" y="902333"/>
              <a:ext cx="7800399" cy="4864608"/>
            </a:xfrm>
            <a:prstGeom prst="rect">
              <a:avLst/>
            </a:prstGeom>
          </p:spPr>
        </p:pic>
      </p:grpSp>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a:extLst>
              <a:ext uri="{FF2B5EF4-FFF2-40B4-BE49-F238E27FC236}">
                <a16:creationId xmlns:a16="http://schemas.microsoft.com/office/drawing/2014/main" id="{78114B73-EDBE-4A4C-B217-0B9BCE8C8F0E}"/>
              </a:ext>
            </a:extLst>
          </p:cNvPr>
          <p:cNvPicPr>
            <a:picLocks noChangeAspect="1"/>
          </p:cNvPicPr>
          <p:nvPr/>
        </p:nvPicPr>
        <p:blipFill rotWithShape="1">
          <a:blip r:embed="rId5"/>
          <a:srcRect l="7222" r="6327"/>
          <a:stretch/>
        </p:blipFill>
        <p:spPr>
          <a:xfrm>
            <a:off x="5176706" y="902331"/>
            <a:ext cx="7800399" cy="4864608"/>
          </a:xfrm>
          <a:prstGeom prst="rect">
            <a:avLst/>
          </a:prstGeom>
        </p:spPr>
      </p:pic>
      <p:sp>
        <p:nvSpPr>
          <p:cNvPr id="12" name="Rectangle 11">
            <a:hlinkClick r:id="rId6"/>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ED62397-F1C8-4CDB-98B8-C4EE89FC7EFF}"/>
              </a:ext>
            </a:extLst>
          </p:cNvPr>
          <p:cNvPicPr>
            <a:picLocks noChangeAspect="1"/>
          </p:cNvPicPr>
          <p:nvPr/>
        </p:nvPicPr>
        <p:blipFill>
          <a:blip r:embed="rId7"/>
          <a:stretch>
            <a:fillRect/>
          </a:stretch>
        </p:blipFill>
        <p:spPr>
          <a:xfrm>
            <a:off x="6581519" y="907475"/>
            <a:ext cx="4909845" cy="4859464"/>
          </a:xfrm>
          <a:prstGeom prst="rect">
            <a:avLst/>
          </a:prstGeom>
        </p:spPr>
      </p:pic>
      <p:pic>
        <p:nvPicPr>
          <p:cNvPr id="14" name="Picture 13" descr="A close up of a logo&#10;&#10;Description generated with very high confidence">
            <a:hlinkClick r:id="rId8"/>
            <a:extLst>
              <a:ext uri="{FF2B5EF4-FFF2-40B4-BE49-F238E27FC236}">
                <a16:creationId xmlns:a16="http://schemas.microsoft.com/office/drawing/2014/main" id="{317ECAE7-1C8B-419F-8CB1-44D84AEB5351}"/>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8541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687134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968462"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0F2EAE52-18D0-4E04-9604-A4AF847B0A37}"/>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4136733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2066460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9004339"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2A7DC3D0-8DEE-4FA6-A2A1-6C7E5C49A662}"/>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323730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12224729" cy="685484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11134725" y="4440157"/>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C90CD57E-F015-4D43-9DF2-ECC53283CE91}"/>
              </a:ext>
            </a:extLst>
          </p:cNvPr>
          <p:cNvSpPr/>
          <p:nvPr/>
        </p:nvSpPr>
        <p:spPr>
          <a:xfrm>
            <a:off x="8755764" y="5527321"/>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8192518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1" y="0"/>
            <a:ext cx="12205623" cy="685035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11526426" y="4455238"/>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D3A4CD6-5F26-4C31-B411-9F9B1CE2BCDD}"/>
              </a:ext>
            </a:extLst>
          </p:cNvPr>
          <p:cNvSpPr/>
          <p:nvPr/>
        </p:nvSpPr>
        <p:spPr>
          <a:xfrm>
            <a:off x="9676603" y="5532084"/>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7532007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4756"/>
            <a:ext cx="12192000" cy="68484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686790" y="3497802"/>
            <a:ext cx="778025" cy="51490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D7DD65CC-08BE-4B9E-849E-29D627E83CC1}"/>
              </a:ext>
            </a:extLst>
          </p:cNvPr>
          <p:cNvSpPr/>
          <p:nvPr/>
        </p:nvSpPr>
        <p:spPr>
          <a:xfrm>
            <a:off x="2364670" y="4580878"/>
            <a:ext cx="760270" cy="288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811227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719538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6315"/>
            <a:ext cx="12192000" cy="68453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10696575" y="2837787"/>
            <a:ext cx="147885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4E333414-988E-47B5-8B96-FC6B2701DC54}"/>
              </a:ext>
            </a:extLst>
          </p:cNvPr>
          <p:cNvSpPr/>
          <p:nvPr/>
        </p:nvSpPr>
        <p:spPr>
          <a:xfrm>
            <a:off x="8449851" y="4331413"/>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D0AD133-A8E0-43D1-8688-1D5ADD5C66A2}"/>
              </a:ext>
            </a:extLst>
          </p:cNvPr>
          <p:cNvSpPr/>
          <p:nvPr/>
        </p:nvSpPr>
        <p:spPr>
          <a:xfrm>
            <a:off x="9240426" y="3578938"/>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753834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Custom 1">
      <a:dk1>
        <a:srgbClr val="000000"/>
      </a:dk1>
      <a:lt1>
        <a:srgbClr val="FFFFF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7063</TotalTime>
  <Words>14446</Words>
  <Application>Microsoft Office PowerPoint</Application>
  <PresentationFormat>Widescreen</PresentationFormat>
  <Paragraphs>1664</Paragraphs>
  <Slides>291</Slides>
  <Notes>282</Notes>
  <HiddenSlides>1</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291</vt:i4>
      </vt:variant>
    </vt:vector>
  </HeadingPairs>
  <TitlesOfParts>
    <vt:vector size="310" baseType="lpstr">
      <vt:lpstr>Arial</vt:lpstr>
      <vt:lpstr>Calibri</vt:lpstr>
      <vt:lpstr>Calibri Light</vt:lpstr>
      <vt:lpstr>Century Gothic</vt:lpstr>
      <vt:lpstr>Consolas</vt:lpstr>
      <vt:lpstr>DIN</vt:lpstr>
      <vt:lpstr>Gill Sans</vt:lpstr>
      <vt:lpstr>Gotham Light</vt:lpstr>
      <vt:lpstr>Segoe UI</vt:lpstr>
      <vt:lpstr>Segoe UI (Body)</vt:lpstr>
      <vt:lpstr>Segoe UI Light</vt:lpstr>
      <vt:lpstr>Segoe UI Semibold</vt:lpstr>
      <vt:lpstr>Segoe UI Semilight</vt:lpstr>
      <vt:lpstr>Wingdings</vt:lpstr>
      <vt:lpstr>Office Theme</vt:lpstr>
      <vt:lpstr>1_Office Theme</vt:lpstr>
      <vt:lpstr>2_Office Theme</vt:lpstr>
      <vt:lpstr>3_Office Theme</vt:lpstr>
      <vt:lpstr>think-cell Slide</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PowerPoint Presentation</vt:lpstr>
      <vt:lpstr>PowerPoint Presentation</vt:lpstr>
      <vt:lpstr>PowerPoint Presentation</vt:lpstr>
      <vt:lpstr>PowerPoint Presentation</vt:lpstr>
    </vt:vector>
  </TitlesOfParts>
  <Company>Fleitas 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Platform - Game Changer</dc:title>
  <dc:creator>Hiram Fleitas</dc:creator>
  <cp:keywords>PowerApps, Microsoft Flow, Power BI, Cortana</cp:keywords>
  <cp:lastModifiedBy>Hiram Fleitas</cp:lastModifiedBy>
  <cp:revision>689</cp:revision>
  <dcterms:created xsi:type="dcterms:W3CDTF">2016-05-30T15:33:26Z</dcterms:created>
  <dcterms:modified xsi:type="dcterms:W3CDTF">2019-05-05T20:56:34Z</dcterms:modified>
  <cp:category>PowerApps</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farag@microsoft.com</vt:lpwstr>
  </property>
  <property fmtid="{D5CDD505-2E9C-101B-9397-08002B2CF9AE}" pid="5" name="MSIP_Label_f42aa342-8706-4288-bd11-ebb85995028c_SetDate">
    <vt:lpwstr>2018-01-04T20:15:55.810468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